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7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0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1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2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3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4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4" r:id="rId1"/>
    <p:sldMasterId id="2147483793" r:id="rId2"/>
    <p:sldMasterId id="2147483828" r:id="rId3"/>
    <p:sldMasterId id="2147483776" r:id="rId4"/>
    <p:sldMasterId id="2147483782" r:id="rId5"/>
    <p:sldMasterId id="2147483740" r:id="rId6"/>
    <p:sldMasterId id="2147483799" r:id="rId7"/>
    <p:sldMasterId id="2147483756" r:id="rId8"/>
    <p:sldMasterId id="2147483761" r:id="rId9"/>
    <p:sldMasterId id="2147483750" r:id="rId10"/>
    <p:sldMasterId id="2147483788" r:id="rId11"/>
    <p:sldMasterId id="2147483771" r:id="rId12"/>
    <p:sldMasterId id="2147483766" r:id="rId13"/>
    <p:sldMasterId id="2147483840" r:id="rId14"/>
    <p:sldMasterId id="2147483847" r:id="rId15"/>
  </p:sldMasterIdLst>
  <p:notesMasterIdLst>
    <p:notesMasterId r:id="rId27"/>
  </p:notesMasterIdLst>
  <p:sldIdLst>
    <p:sldId id="273" r:id="rId16"/>
    <p:sldId id="357" r:id="rId17"/>
    <p:sldId id="347" r:id="rId18"/>
    <p:sldId id="350" r:id="rId19"/>
    <p:sldId id="358" r:id="rId20"/>
    <p:sldId id="359" r:id="rId21"/>
    <p:sldId id="360" r:id="rId22"/>
    <p:sldId id="361" r:id="rId23"/>
    <p:sldId id="362" r:id="rId24"/>
    <p:sldId id="363" r:id="rId25"/>
    <p:sldId id="287" r:id="rId26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D00"/>
    <a:srgbClr val="EA288C"/>
    <a:srgbClr val="A02BFF"/>
    <a:srgbClr val="4D4E50"/>
    <a:srgbClr val="4D4D4D"/>
    <a:srgbClr val="FF7900"/>
    <a:srgbClr val="00D318"/>
    <a:srgbClr val="FFFF00"/>
    <a:srgbClr val="00CEFF"/>
    <a:srgbClr val="A03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86594" autoAdjust="0"/>
  </p:normalViewPr>
  <p:slideViewPr>
    <p:cSldViewPr snapToObjects="1">
      <p:cViewPr varScale="1">
        <p:scale>
          <a:sx n="96" d="100"/>
          <a:sy n="96" d="100"/>
        </p:scale>
        <p:origin x="-660" y="-84"/>
      </p:cViewPr>
      <p:guideLst>
        <p:guide orient="horz" pos="1620"/>
        <p:guide pos="2880"/>
      </p:guideLst>
    </p:cSldViewPr>
  </p:slideViewPr>
  <p:notesTextViewPr>
    <p:cViewPr>
      <p:scale>
        <a:sx n="80" d="100"/>
        <a:sy n="8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OI369655\Desktop\peso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4402460892924225E-2"/>
          <c:y val="3.6907524590926194E-2"/>
          <c:w val="0.96039323254445841"/>
          <c:h val="0.72842111881845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TOTAL (2)'!$AG$67</c:f>
              <c:strCache>
                <c:ptCount val="1"/>
                <c:pt idx="0">
                  <c:v>INSTALAÇÃ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67:$AR$67</c:f>
              <c:numCache>
                <c:formatCode>#,##0,,</c:formatCode>
                <c:ptCount val="10"/>
                <c:pt idx="0">
                  <c:v>5749788.9058420006</c:v>
                </c:pt>
                <c:pt idx="1">
                  <c:v>7883255.650816001</c:v>
                </c:pt>
                <c:pt idx="2">
                  <c:v>6286778.8154381625</c:v>
                </c:pt>
                <c:pt idx="3">
                  <c:v>4143982.8272342319</c:v>
                </c:pt>
                <c:pt idx="4">
                  <c:v>4437980.0308279581</c:v>
                </c:pt>
                <c:pt idx="5">
                  <c:v>3306512.9562963778</c:v>
                </c:pt>
                <c:pt idx="6">
                  <c:v>3324712.4630548283</c:v>
                </c:pt>
                <c:pt idx="7">
                  <c:v>3937075.19</c:v>
                </c:pt>
                <c:pt idx="8">
                  <c:v>5170503.9710637378</c:v>
                </c:pt>
                <c:pt idx="9">
                  <c:v>5342097.537854827</c:v>
                </c:pt>
              </c:numCache>
            </c:numRef>
          </c:val>
        </c:ser>
        <c:ser>
          <c:idx val="1"/>
          <c:order val="1"/>
          <c:tx>
            <c:strRef>
              <c:f>'TOTAL (2)'!$AG$68</c:f>
              <c:strCache>
                <c:ptCount val="1"/>
                <c:pt idx="0">
                  <c:v>JEC PROCED.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68:$AR$68</c:f>
              <c:numCache>
                <c:formatCode>#,##0,,</c:formatCode>
                <c:ptCount val="10"/>
                <c:pt idx="0">
                  <c:v>9827320</c:v>
                </c:pt>
                <c:pt idx="1">
                  <c:v>15642894</c:v>
                </c:pt>
                <c:pt idx="2">
                  <c:v>14665993</c:v>
                </c:pt>
                <c:pt idx="3">
                  <c:v>14371350</c:v>
                </c:pt>
                <c:pt idx="4">
                  <c:v>16307064</c:v>
                </c:pt>
                <c:pt idx="5">
                  <c:v>18215718</c:v>
                </c:pt>
                <c:pt idx="6">
                  <c:v>14332592</c:v>
                </c:pt>
                <c:pt idx="7">
                  <c:v>9384219</c:v>
                </c:pt>
                <c:pt idx="8">
                  <c:v>9524004</c:v>
                </c:pt>
                <c:pt idx="9">
                  <c:v>8006964</c:v>
                </c:pt>
              </c:numCache>
            </c:numRef>
          </c:val>
        </c:ser>
        <c:ser>
          <c:idx val="2"/>
          <c:order val="2"/>
          <c:tx>
            <c:strRef>
              <c:f>'TOTAL (2)'!$AG$69</c:f>
              <c:strCache>
                <c:ptCount val="1"/>
                <c:pt idx="0">
                  <c:v>SM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69:$AR$69</c:f>
              <c:numCache>
                <c:formatCode>#,##0,,</c:formatCode>
                <c:ptCount val="10"/>
                <c:pt idx="0">
                  <c:v>6767683.9525087373</c:v>
                </c:pt>
                <c:pt idx="1">
                  <c:v>6767683.9525087373</c:v>
                </c:pt>
                <c:pt idx="2">
                  <c:v>6767683.9525087373</c:v>
                </c:pt>
                <c:pt idx="3">
                  <c:v>6210023.5976153463</c:v>
                </c:pt>
                <c:pt idx="4">
                  <c:v>6473335.1492307307</c:v>
                </c:pt>
                <c:pt idx="5">
                  <c:v>7619693.1106801359</c:v>
                </c:pt>
                <c:pt idx="6">
                  <c:v>4396416.246040036</c:v>
                </c:pt>
                <c:pt idx="7">
                  <c:v>6059713.2699999996</c:v>
                </c:pt>
                <c:pt idx="8">
                  <c:v>8337727.4063203689</c:v>
                </c:pt>
                <c:pt idx="9">
                  <c:v>6453734.2928003743</c:v>
                </c:pt>
              </c:numCache>
            </c:numRef>
          </c:val>
        </c:ser>
        <c:ser>
          <c:idx val="3"/>
          <c:order val="3"/>
          <c:tx>
            <c:strRef>
              <c:f>'TOTAL (2)'!$AG$70</c:f>
              <c:strCache>
                <c:ptCount val="1"/>
                <c:pt idx="0">
                  <c:v>ITX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70:$AR$70</c:f>
              <c:numCache>
                <c:formatCode>#,##0,,</c:formatCode>
                <c:ptCount val="10"/>
                <c:pt idx="0">
                  <c:v>27493019.770440001</c:v>
                </c:pt>
                <c:pt idx="1">
                  <c:v>18227632.317200001</c:v>
                </c:pt>
                <c:pt idx="2">
                  <c:v>11567504.237059999</c:v>
                </c:pt>
                <c:pt idx="3">
                  <c:v>6747582.2833899995</c:v>
                </c:pt>
                <c:pt idx="4">
                  <c:v>5801698.5713400003</c:v>
                </c:pt>
                <c:pt idx="5">
                  <c:v>3855770.0022900002</c:v>
                </c:pt>
                <c:pt idx="6">
                  <c:v>2379498.2257099999</c:v>
                </c:pt>
                <c:pt idx="7">
                  <c:v>1197531.21955</c:v>
                </c:pt>
                <c:pt idx="8">
                  <c:v>625884.3663799999</c:v>
                </c:pt>
                <c:pt idx="9">
                  <c:v>699302.302350002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927680"/>
        <c:axId val="137941760"/>
      </c:barChart>
      <c:lineChart>
        <c:grouping val="standard"/>
        <c:varyColors val="0"/>
        <c:ser>
          <c:idx val="4"/>
          <c:order val="4"/>
          <c:tx>
            <c:strRef>
              <c:f>'TOTAL (2)'!$AG$71</c:f>
              <c:strCache>
                <c:ptCount val="1"/>
                <c:pt idx="0">
                  <c:v>Total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28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71:$AR$71</c:f>
              <c:numCache>
                <c:formatCode>#,##0,,</c:formatCode>
                <c:ptCount val="10"/>
                <c:pt idx="0">
                  <c:v>49837812.628790736</c:v>
                </c:pt>
                <c:pt idx="1">
                  <c:v>48521465.920524739</c:v>
                </c:pt>
                <c:pt idx="2">
                  <c:v>39287960.005006894</c:v>
                </c:pt>
                <c:pt idx="3">
                  <c:v>31472938.708239578</c:v>
                </c:pt>
                <c:pt idx="4">
                  <c:v>33020077.75139869</c:v>
                </c:pt>
                <c:pt idx="5">
                  <c:v>32997694.069266513</c:v>
                </c:pt>
                <c:pt idx="6">
                  <c:v>24433218.934804864</c:v>
                </c:pt>
                <c:pt idx="7">
                  <c:v>20578538.67955</c:v>
                </c:pt>
                <c:pt idx="8">
                  <c:v>23658119.743764102</c:v>
                </c:pt>
                <c:pt idx="9">
                  <c:v>20502098.1330052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7834496"/>
        <c:axId val="137943296"/>
      </c:lineChart>
      <c:catAx>
        <c:axId val="1379276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pt-BR"/>
          </a:p>
        </c:txPr>
        <c:crossAx val="137941760"/>
        <c:crosses val="autoZero"/>
        <c:auto val="1"/>
        <c:lblAlgn val="ctr"/>
        <c:lblOffset val="100"/>
        <c:noMultiLvlLbl val="0"/>
      </c:catAx>
      <c:valAx>
        <c:axId val="137941760"/>
        <c:scaling>
          <c:orientation val="minMax"/>
        </c:scaling>
        <c:delete val="0"/>
        <c:axPos val="l"/>
        <c:numFmt formatCode="#,##0,,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137927680"/>
        <c:crosses val="autoZero"/>
        <c:crossBetween val="between"/>
      </c:valAx>
      <c:valAx>
        <c:axId val="137943296"/>
        <c:scaling>
          <c:orientation val="minMax"/>
          <c:max val="60000000"/>
          <c:min val="-60000000"/>
        </c:scaling>
        <c:delete val="0"/>
        <c:axPos val="r"/>
        <c:numFmt formatCode="#,##0,,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137834496"/>
        <c:crosses val="max"/>
        <c:crossBetween val="between"/>
      </c:valAx>
      <c:catAx>
        <c:axId val="1378344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794329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  <c:txPr>
        <a:bodyPr/>
        <a:lstStyle/>
        <a:p>
          <a:pPr>
            <a:defRPr sz="180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281407809003512"/>
          <c:y val="9.6090195466429329E-2"/>
          <c:w val="0.41230887485997803"/>
          <c:h val="0.63582663604907863"/>
        </c:manualLayout>
      </c:layout>
      <c:doughnutChart>
        <c:varyColors val="1"/>
        <c:ser>
          <c:idx val="0"/>
          <c:order val="0"/>
          <c:tx>
            <c:strRef>
              <c:f>Plan1!$C$2</c:f>
              <c:strCache>
                <c:ptCount val="1"/>
                <c:pt idx="0">
                  <c:v>Peso (%)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1"/>
            <c:bubble3D val="0"/>
            <c:spPr>
              <a:solidFill>
                <a:schemeClr val="accent3"/>
              </a:solidFill>
            </c:spPr>
          </c:dPt>
          <c:dPt>
            <c:idx val="2"/>
            <c:bubble3D val="0"/>
            <c:spPr>
              <a:solidFill>
                <a:srgbClr val="E82CA9"/>
              </a:solidFill>
            </c:spPr>
          </c:dPt>
          <c:dPt>
            <c:idx val="3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1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2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3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20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Plan1!$B$3:$B$7</c:f>
              <c:strCache>
                <c:ptCount val="5"/>
                <c:pt idx="0">
                  <c:v>Custos</c:v>
                </c:pt>
                <c:pt idx="1">
                  <c:v>Funcional</c:v>
                </c:pt>
                <c:pt idx="2">
                  <c:v>Inovação</c:v>
                </c:pt>
                <c:pt idx="3">
                  <c:v>Redução de perdas</c:v>
                </c:pt>
                <c:pt idx="4">
                  <c:v>Técnico</c:v>
                </c:pt>
              </c:strCache>
            </c:strRef>
          </c:cat>
          <c:val>
            <c:numRef>
              <c:f>Plan1!$C$3:$C$7</c:f>
              <c:numCache>
                <c:formatCode>General</c:formatCode>
                <c:ptCount val="5"/>
                <c:pt idx="0">
                  <c:v>15</c:v>
                </c:pt>
                <c:pt idx="1">
                  <c:v>25</c:v>
                </c:pt>
                <c:pt idx="2">
                  <c:v>5</c:v>
                </c:pt>
                <c:pt idx="3">
                  <c:v>35</c:v>
                </c:pt>
                <c:pt idx="4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ayout>
        <c:manualLayout>
          <c:xMode val="edge"/>
          <c:yMode val="edge"/>
          <c:x val="0.14192950299016793"/>
          <c:y val="0.89481495806280531"/>
          <c:w val="0.71201489366125981"/>
          <c:h val="5.4283761113675937E-2"/>
        </c:manualLayout>
      </c:layout>
      <c:overlay val="0"/>
    </c:legend>
    <c:plotVisOnly val="1"/>
    <c:dispBlanksAs val="gap"/>
    <c:showDLblsOverMax val="0"/>
  </c:chart>
  <c:spPr>
    <a:ln w="3175" cap="sq"/>
  </c:sp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B3371-C7D7-F048-A57E-C03D5C4E4947}" type="datetimeFigureOut">
              <a:rPr lang="en-US" smtClean="0"/>
              <a:t>10/5/2016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69F260-AC7C-48D7-BB79-175B58219B0E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6067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50436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1494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4807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1946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5527692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3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7370276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728307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99220"/>
            <a:ext cx="8207375" cy="360362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LOREM IPSUM DOLOR SIT AMET 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65373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85656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01699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058864"/>
            <a:ext cx="8207375" cy="360362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LOREM IPSUM DOLOR SIT AMET 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089573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D318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00D318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D318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D318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804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59224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490929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02544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00CEFF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CEFF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CEFF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6072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026445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747214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058864"/>
            <a:ext cx="8207375" cy="360362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LOREM IPSUM DOLOR SIT AMET 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85105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583262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240434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896539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58019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3604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97821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695372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171380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96932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377234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715738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030247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10062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535999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12481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85543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802711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65173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198868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988161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14390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52373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199038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985219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466688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460942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2118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414429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52849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603164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75361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26975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23712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616181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958720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30900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771404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7683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77349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04028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788353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144444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044624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2781448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402957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051593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609875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647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924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1604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922724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4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084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868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5401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332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81321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chemeClr val="accent1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chemeClr val="accent1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chemeClr val="accent1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697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9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3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7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7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8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845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455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751" r:id="rId3"/>
    <p:sldLayoutId id="2147483752" r:id="rId4"/>
    <p:sldLayoutId id="2147483753" r:id="rId5"/>
    <p:sldLayoutId id="2147483754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04680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789" r:id="rId3"/>
    <p:sldLayoutId id="2147483790" r:id="rId4"/>
    <p:sldLayoutId id="2147483791" r:id="rId5"/>
    <p:sldLayoutId id="2147483792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736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5" r:id="rId2"/>
    <p:sldLayoutId id="2147483772" r:id="rId3"/>
    <p:sldLayoutId id="2147483773" r:id="rId4"/>
    <p:sldLayoutId id="2147483774" r:id="rId5"/>
    <p:sldLayoutId id="2147483775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2405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767" r:id="rId3"/>
    <p:sldLayoutId id="2147483768" r:id="rId4"/>
    <p:sldLayoutId id="2147483769" r:id="rId5"/>
    <p:sldLayoutId id="2147483770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5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7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89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90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91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92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3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4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5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6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7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8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9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0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1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2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3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1714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003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9589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306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5" r:id="rId4"/>
    <p:sldLayoutId id="2147483836" r:id="rId5"/>
    <p:sldLayoutId id="2147483837" r:id="rId6"/>
    <p:sldLayoutId id="2147483839" r:id="rId7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6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6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6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6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5034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48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9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50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7044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832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1372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328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9632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149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1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1088375"/>
          </a:xfrm>
        </p:spPr>
        <p:txBody>
          <a:bodyPr>
            <a:spAutoFit/>
          </a:bodyPr>
          <a:lstStyle/>
          <a:p>
            <a:r>
              <a:rPr lang="pt-BR" dirty="0" smtClean="0">
                <a:solidFill>
                  <a:srgbClr val="A02BFF"/>
                </a:solidFill>
              </a:rPr>
              <a:t>RFP - FMS (</a:t>
            </a:r>
            <a:r>
              <a:rPr lang="pt-BR" dirty="0" err="1" smtClean="0">
                <a:solidFill>
                  <a:srgbClr val="A02BFF"/>
                </a:solidFill>
              </a:rPr>
              <a:t>Fraud</a:t>
            </a:r>
            <a:r>
              <a:rPr lang="pt-BR" dirty="0" smtClean="0">
                <a:solidFill>
                  <a:srgbClr val="A02BFF"/>
                </a:solidFill>
              </a:rPr>
              <a:t> MANAGEMENT SYSTEM)</a:t>
            </a:r>
            <a:endParaRPr lang="pt-BR" dirty="0">
              <a:solidFill>
                <a:srgbClr val="A02BFF"/>
              </a:solidFill>
            </a:endParaRPr>
          </a:p>
        </p:txBody>
      </p:sp>
      <p:sp>
        <p:nvSpPr>
          <p:cNvPr id="4" name="Content Placeholder 6"/>
          <p:cNvSpPr txBox="1">
            <a:spLocks/>
          </p:cNvSpPr>
          <p:nvPr/>
        </p:nvSpPr>
        <p:spPr>
          <a:xfrm>
            <a:off x="468313" y="3003798"/>
            <a:ext cx="6084888" cy="1217687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200" dirty="0">
                <a:solidFill>
                  <a:srgbClr val="4D4D4D"/>
                </a:solidFill>
                <a:latin typeface="Simplon Oi Headline" pitchFamily="2" charset="0"/>
              </a:rPr>
              <a:t>Gerência de </a:t>
            </a: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arquitetura corporativa (GAC)</a:t>
            </a:r>
          </a:p>
          <a:p>
            <a:pPr marL="0" indent="0">
              <a:buNone/>
            </a:pP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Diretoria de governança, arquitetura e transformação (DGAT)</a:t>
            </a:r>
            <a:endParaRPr lang="pt-BR" sz="1200" i="1" dirty="0" smtClean="0">
              <a:solidFill>
                <a:srgbClr val="4D4D4D"/>
              </a:solidFill>
              <a:latin typeface="Simplon Oi Headline" pitchFamily="2" charset="0"/>
            </a:endParaRPr>
          </a:p>
          <a:p>
            <a:pPr marL="0" indent="0">
              <a:buNone/>
            </a:pPr>
            <a:r>
              <a:rPr lang="pt-BR" sz="1200" dirty="0" err="1" smtClean="0">
                <a:solidFill>
                  <a:srgbClr val="4D4D4D"/>
                </a:solidFill>
                <a:latin typeface="Simplon Oi Headline" pitchFamily="2" charset="0"/>
              </a:rPr>
              <a:t>oUTUBRO</a:t>
            </a: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/2016</a:t>
            </a:r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518009" y="1635646"/>
            <a:ext cx="4898210" cy="5386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r>
              <a:rPr lang="pt-BR" sz="1600" dirty="0" smtClean="0">
                <a:solidFill>
                  <a:srgbClr val="FF0000"/>
                </a:solidFill>
              </a:rPr>
              <a:t>Apresentação de </a:t>
            </a:r>
            <a:r>
              <a:rPr lang="pt-BR" sz="1600" i="1" dirty="0" err="1" smtClean="0">
                <a:solidFill>
                  <a:srgbClr val="FF0000"/>
                </a:solidFill>
              </a:rPr>
              <a:t>onboarding</a:t>
            </a:r>
            <a:endParaRPr lang="pt-BR" sz="160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453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OS PRÓXIMOS PASSOS APÓS O LEVANTAMENTO DOS REQUISITOS ATÉ 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3" name="AutoShape 50"/>
          <p:cNvSpPr>
            <a:spLocks noChangeArrowheads="1"/>
          </p:cNvSpPr>
          <p:nvPr/>
        </p:nvSpPr>
        <p:spPr bwMode="auto">
          <a:xfrm>
            <a:off x="2051720" y="1122115"/>
            <a:ext cx="1980000" cy="744488"/>
          </a:xfrm>
          <a:prstGeom prst="chevron">
            <a:avLst>
              <a:gd name="adj" fmla="val 34041"/>
            </a:avLst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buSzPct val="90000"/>
            </a:pPr>
            <a:r>
              <a:rPr lang="pt-BR" sz="1200" b="1" dirty="0" smtClean="0">
                <a:solidFill>
                  <a:schemeClr val="bg1"/>
                </a:solidFill>
                <a:latin typeface="+mj-lt"/>
              </a:rPr>
              <a:t>Detalhamento e </a:t>
            </a:r>
            <a:r>
              <a:rPr lang="pt-BR" sz="1200" b="1" dirty="0" err="1" smtClean="0">
                <a:solidFill>
                  <a:schemeClr val="bg1"/>
                </a:solidFill>
                <a:latin typeface="+mj-lt"/>
              </a:rPr>
              <a:t>validãção</a:t>
            </a:r>
            <a:r>
              <a:rPr lang="pt-BR" sz="1200" b="1" dirty="0" smtClean="0">
                <a:solidFill>
                  <a:schemeClr val="bg1"/>
                </a:solidFill>
                <a:latin typeface="+mj-lt"/>
              </a:rPr>
              <a:t> da RFP </a:t>
            </a:r>
            <a:endParaRPr lang="pt-BR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AutoShape 51"/>
          <p:cNvSpPr>
            <a:spLocks noChangeArrowheads="1"/>
          </p:cNvSpPr>
          <p:nvPr/>
        </p:nvSpPr>
        <p:spPr bwMode="auto">
          <a:xfrm>
            <a:off x="735697" y="1122115"/>
            <a:ext cx="1266328" cy="744488"/>
          </a:xfrm>
          <a:prstGeom prst="homePlate">
            <a:avLst>
              <a:gd name="adj" fmla="val 32765"/>
            </a:avLst>
          </a:prstGeom>
          <a:solidFill>
            <a:schemeClr val="accent5">
              <a:lumMod val="50000"/>
            </a:schemeClr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buSzPct val="90000"/>
            </a:pPr>
            <a:r>
              <a:rPr lang="pt-BR" sz="1200" b="1" dirty="0" smtClean="0">
                <a:solidFill>
                  <a:schemeClr val="bg1"/>
                </a:solidFill>
                <a:latin typeface="+mj-lt"/>
              </a:rPr>
              <a:t>Levantamento dos requisitos</a:t>
            </a:r>
            <a:endParaRPr lang="pt-BR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AutoShape 52"/>
          <p:cNvSpPr>
            <a:spLocks noChangeArrowheads="1"/>
          </p:cNvSpPr>
          <p:nvPr/>
        </p:nvSpPr>
        <p:spPr bwMode="auto">
          <a:xfrm>
            <a:off x="6116416" y="1115765"/>
            <a:ext cx="1980000" cy="744488"/>
          </a:xfrm>
          <a:prstGeom prst="chevron">
            <a:avLst>
              <a:gd name="adj" fmla="val 33205"/>
            </a:avLst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buSzPct val="90000"/>
            </a:pPr>
            <a:r>
              <a:rPr lang="pt-BR" sz="1200" b="1" dirty="0" smtClean="0">
                <a:solidFill>
                  <a:schemeClr val="bg1"/>
                </a:solidFill>
                <a:latin typeface="+mj-lt"/>
              </a:rPr>
              <a:t>Relatório final e contratação</a:t>
            </a:r>
            <a:endParaRPr lang="pt-BR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2089242" y="1960166"/>
            <a:ext cx="1800000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Detalhamento da RFP</a:t>
            </a:r>
            <a:endParaRPr lang="pt-BR" sz="1200" dirty="0">
              <a:latin typeface="+mj-lt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Validação da área de Contratos de TI</a:t>
            </a:r>
            <a:endParaRPr lang="pt-BR" sz="1200" dirty="0">
              <a:latin typeface="+mj-lt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Validação das áreas de Segurança da Informação e Infraestrutura de TI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Envio para Suprimentos</a:t>
            </a:r>
            <a:endParaRPr lang="pt-BR" sz="1200" dirty="0">
              <a:latin typeface="+mj-lt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+mj-lt"/>
            </a:endParaRPr>
          </a:p>
        </p:txBody>
      </p:sp>
      <p:sp>
        <p:nvSpPr>
          <p:cNvPr id="8" name="Text Box 82"/>
          <p:cNvSpPr txBox="1">
            <a:spLocks noChangeArrowheads="1"/>
          </p:cNvSpPr>
          <p:nvPr/>
        </p:nvSpPr>
        <p:spPr bwMode="auto">
          <a:xfrm>
            <a:off x="4053950" y="1947466"/>
            <a:ext cx="1933130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Envio da RFP para o mercado</a:t>
            </a:r>
            <a:endParaRPr lang="pt-BR" sz="1200" dirty="0">
              <a:latin typeface="+mj-lt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Recebimento e análise das propostas dos fornecedore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Realização das </a:t>
            </a:r>
            <a:r>
              <a:rPr lang="pt-BR" sz="1200" dirty="0" err="1" smtClean="0">
                <a:latin typeface="+mj-lt"/>
              </a:rPr>
              <a:t>POC’s</a:t>
            </a:r>
            <a:endParaRPr lang="pt-BR" sz="1200" dirty="0" smtClean="0">
              <a:latin typeface="+mj-lt"/>
            </a:endParaRPr>
          </a:p>
        </p:txBody>
      </p:sp>
      <p:sp>
        <p:nvSpPr>
          <p:cNvPr id="9" name="Text Box 83"/>
          <p:cNvSpPr txBox="1">
            <a:spLocks noChangeArrowheads="1"/>
          </p:cNvSpPr>
          <p:nvPr/>
        </p:nvSpPr>
        <p:spPr bwMode="auto">
          <a:xfrm>
            <a:off x="6147248" y="1939528"/>
            <a:ext cx="1800000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Elaboração do relatório final (RAT) com a análise de aderência das propostas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Negociação comercial com Suprimentos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Contratação da solução vencedora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+mj-lt"/>
            </a:endParaRPr>
          </a:p>
        </p:txBody>
      </p:sp>
      <p:sp>
        <p:nvSpPr>
          <p:cNvPr id="10" name="AutoShape 52"/>
          <p:cNvSpPr>
            <a:spLocks noChangeArrowheads="1"/>
          </p:cNvSpPr>
          <p:nvPr/>
        </p:nvSpPr>
        <p:spPr bwMode="auto">
          <a:xfrm>
            <a:off x="4086312" y="1122115"/>
            <a:ext cx="1980000" cy="745200"/>
          </a:xfrm>
          <a:prstGeom prst="chevron">
            <a:avLst>
              <a:gd name="adj" fmla="val 33205"/>
            </a:avLst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buSzPct val="90000"/>
            </a:pPr>
            <a:r>
              <a:rPr lang="pt-BR" sz="1100" b="1" dirty="0" smtClean="0">
                <a:solidFill>
                  <a:schemeClr val="bg1"/>
                </a:solidFill>
                <a:latin typeface="+mj-lt"/>
              </a:rPr>
              <a:t>Envio da RFP e realização das </a:t>
            </a:r>
            <a:r>
              <a:rPr lang="pt-BR" sz="1100" b="1" dirty="0" err="1" smtClean="0">
                <a:solidFill>
                  <a:schemeClr val="bg1"/>
                </a:solidFill>
                <a:latin typeface="+mj-lt"/>
              </a:rPr>
              <a:t>POC’s</a:t>
            </a:r>
            <a:endParaRPr lang="pt-BR" sz="1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Estrela de 5 pontas 1"/>
          <p:cNvSpPr/>
          <p:nvPr/>
        </p:nvSpPr>
        <p:spPr>
          <a:xfrm>
            <a:off x="1102533" y="2139093"/>
            <a:ext cx="266328" cy="266328"/>
          </a:xfrm>
          <a:prstGeom prst="star5">
            <a:avLst/>
          </a:prstGeom>
          <a:solidFill>
            <a:schemeClr val="accent4"/>
          </a:solidFill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805006" y="2499742"/>
            <a:ext cx="861381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900" b="1" dirty="0" smtClean="0">
                <a:latin typeface="Simplon BP" charset="0"/>
                <a:ea typeface="Simplon BP" charset="0"/>
                <a:cs typeface="Simplon BP" charset="0"/>
              </a:rPr>
              <a:t>Estamos aqui!</a:t>
            </a:r>
          </a:p>
        </p:txBody>
      </p:sp>
    </p:spTree>
    <p:extLst>
      <p:ext uri="{BB962C8B-B14F-4D97-AF65-F5344CB8AC3E}">
        <p14:creationId xmlns:p14="http://schemas.microsoft.com/office/powerpoint/2010/main" val="3325114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4703" y="2571934"/>
            <a:ext cx="1374595" cy="1656000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1730394" y="4824208"/>
            <a:ext cx="5683213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800" dirty="0" smtClean="0">
                <a:solidFill>
                  <a:srgbClr val="000000"/>
                </a:solidFill>
                <a:latin typeface="Simplon BP Light" pitchFamily="2" charset="0"/>
                <a:ea typeface="Simplon BP" charset="0"/>
                <a:cs typeface="Simplon BP" charset="0"/>
              </a:rPr>
              <a:t>Este documento é propriedade intelectual da Oi e fica proibida a sua utilização ou propagação sem expressa autorização escrita</a:t>
            </a:r>
          </a:p>
        </p:txBody>
      </p:sp>
    </p:spTree>
    <p:extLst>
      <p:ext uri="{BB962C8B-B14F-4D97-AF65-F5344CB8AC3E}">
        <p14:creationId xmlns:p14="http://schemas.microsoft.com/office/powerpoint/2010/main" val="57636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áfic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535338"/>
              </p:ext>
            </p:extLst>
          </p:nvPr>
        </p:nvGraphicFramePr>
        <p:xfrm>
          <a:off x="15821" y="765338"/>
          <a:ext cx="7054350" cy="3785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tângulo 7"/>
          <p:cNvSpPr/>
          <p:nvPr/>
        </p:nvSpPr>
        <p:spPr>
          <a:xfrm>
            <a:off x="7070171" y="759000"/>
            <a:ext cx="1913809" cy="41890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r>
              <a:rPr lang="pt-BR" sz="1100" b="1" dirty="0" smtClean="0">
                <a:solidFill>
                  <a:prstClr val="black"/>
                </a:solidFill>
                <a:latin typeface="Simplon BP Regular" pitchFamily="2" charset="0"/>
              </a:rPr>
              <a:t>Estratégias de Redução via Arquitetura:</a:t>
            </a:r>
          </a:p>
          <a:p>
            <a:endParaRPr lang="pt-BR" sz="1100" b="1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R$6MM SMS: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plataforma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anti-spam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Jan/17.</a:t>
            </a:r>
          </a:p>
          <a:p>
            <a:endParaRPr lang="pt-BR" sz="11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R$5MM Instalação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: Melhorar Prevenção na Venda + Score Externo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endParaRPr lang="pt-BR" sz="11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 R$8MM JEC PROCED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,: Melhorar Prevenção e Detecção + BO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Pre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-Negativação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endParaRPr lang="pt-BR" sz="11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R$1MM ITX: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Controle de Tráfego +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Regulátorio</a:t>
            </a:r>
            <a:endParaRPr lang="pt-BR" sz="1100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3" name="CaixaDeTexto 12"/>
          <p:cNvSpPr txBox="1"/>
          <p:nvPr>
            <p:custDataLst>
              <p:tags r:id="rId1"/>
            </p:custDataLst>
          </p:nvPr>
        </p:nvSpPr>
        <p:spPr>
          <a:xfrm>
            <a:off x="179512" y="64396"/>
            <a:ext cx="8856984" cy="69460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defPPr>
              <a:defRPr lang="pt-BR"/>
            </a:defPPr>
            <a:lvl1pPr defTabSz="457200">
              <a:lnSpc>
                <a:spcPts val="5600"/>
              </a:lnSpc>
              <a:spcBef>
                <a:spcPts val="0"/>
              </a:spcBef>
              <a:buNone/>
              <a:defRPr sz="3200" b="0" i="0" baseline="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2100" dirty="0" smtClean="0">
                <a:latin typeface="Simplon Oi Headline" pitchFamily="2" charset="0"/>
              </a:rPr>
              <a:t>TEMOS UM POTENCIAL DE REDUÇÃO DE PERDAS DE R$ 40MM EM 2016, MAS AINDA EXISTEM OPORTUNIDADES QUE SOMAM R$ 20-30MM AO ANO</a:t>
            </a:r>
            <a:endParaRPr lang="pt-BR" sz="2100" dirty="0">
              <a:latin typeface="Simplon Oi Headline" pitchFamily="2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79512" y="4680405"/>
            <a:ext cx="4104456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900" i="1" dirty="0" smtClean="0">
                <a:latin typeface="Georgia" pitchFamily="18" charset="0"/>
              </a:rPr>
              <a:t>* Projeção 2016</a:t>
            </a:r>
          </a:p>
        </p:txBody>
      </p:sp>
    </p:spTree>
    <p:extLst>
      <p:ext uri="{BB962C8B-B14F-4D97-AF65-F5344CB8AC3E}">
        <p14:creationId xmlns:p14="http://schemas.microsoft.com/office/powerpoint/2010/main" val="338013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tângulo Arredondado 80"/>
          <p:cNvSpPr/>
          <p:nvPr/>
        </p:nvSpPr>
        <p:spPr>
          <a:xfrm>
            <a:off x="8108986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a arquitetura atual para gestão de fraude é segregada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115" name="Retângulo 114"/>
          <p:cNvSpPr/>
          <p:nvPr/>
        </p:nvSpPr>
        <p:spPr>
          <a:xfrm>
            <a:off x="476465" y="1333310"/>
            <a:ext cx="3015415" cy="347068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Soluções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segregadas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por região, produto e serviço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Ausência de visão unificada e </a:t>
            </a:r>
            <a:r>
              <a:rPr lang="pt-BR" sz="1400" i="1" dirty="0" err="1">
                <a:latin typeface="Simplon BP" charset="0"/>
                <a:ea typeface="Simplon BP" charset="0"/>
                <a:cs typeface="Simplon BP" charset="0"/>
              </a:rPr>
              <a:t>cross</a:t>
            </a:r>
            <a:r>
              <a:rPr lang="pt-BR" sz="1400" i="1" dirty="0"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pt-BR" sz="1400" i="1" dirty="0" err="1">
                <a:latin typeface="Simplon BP" charset="0"/>
                <a:ea typeface="Simplon BP" charset="0"/>
                <a:cs typeface="Simplon BP" charset="0"/>
              </a:rPr>
              <a:t>channel</a:t>
            </a:r>
            <a:r>
              <a:rPr lang="pt-BR" sz="1400" i="1" dirty="0"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dos cenários de fraude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Solução não está preparada para novos tipos de fraude a serem detectados com a transformação e produtos digitais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Processos manuais prevenção de fraude para Oi TV e Fixo R2 geram custos com </a:t>
            </a:r>
            <a:r>
              <a:rPr lang="pt-BR" sz="1400" dirty="0" err="1" smtClean="0">
                <a:latin typeface="Simplon BP" charset="0"/>
                <a:ea typeface="Simplon BP" charset="0"/>
                <a:cs typeface="Simplon BP" charset="0"/>
              </a:rPr>
              <a:t>BO’s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e perda de receita;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444903" y="1052355"/>
            <a:ext cx="1872000" cy="21602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400" b="1" smtClean="0">
                <a:latin typeface="Simplon BP Regular"/>
                <a:cs typeface="Simplon BP Regular"/>
              </a:rPr>
              <a:t>Principais Problemas:</a:t>
            </a:r>
            <a:endParaRPr lang="pt-BR" sz="1400" b="1" dirty="0" smtClean="0">
              <a:latin typeface="Simplon BP Regular"/>
              <a:cs typeface="Simplon BP Regular"/>
            </a:endParaRPr>
          </a:p>
        </p:txBody>
      </p:sp>
      <p:sp>
        <p:nvSpPr>
          <p:cNvPr id="3" name="Retângulo Arredondado 2"/>
          <p:cNvSpPr/>
          <p:nvPr/>
        </p:nvSpPr>
        <p:spPr>
          <a:xfrm>
            <a:off x="3696867" y="1333310"/>
            <a:ext cx="12600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3758805" y="1563638"/>
            <a:ext cx="1124853" cy="43577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ubscritor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Móvel e Fixo R1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8250433" y="1563638"/>
            <a:ext cx="649505" cy="43577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EMI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Retângulo 47"/>
          <p:cNvSpPr/>
          <p:nvPr/>
        </p:nvSpPr>
        <p:spPr>
          <a:xfrm>
            <a:off x="8250433" y="208965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GA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Retângulo 48"/>
          <p:cNvSpPr/>
          <p:nvPr/>
        </p:nvSpPr>
        <p:spPr>
          <a:xfrm>
            <a:off x="8250433" y="2619086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Retângulo 49"/>
          <p:cNvSpPr/>
          <p:nvPr/>
        </p:nvSpPr>
        <p:spPr>
          <a:xfrm>
            <a:off x="3758805" y="2089649"/>
            <a:ext cx="1124853" cy="43577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Oi TV e Fixo R2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BO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3704882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TIMID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REVENÇAO</a:t>
            </a:r>
          </a:p>
        </p:txBody>
      </p:sp>
      <p:sp>
        <p:nvSpPr>
          <p:cNvPr id="53" name="Retângulo 52"/>
          <p:cNvSpPr/>
          <p:nvPr/>
        </p:nvSpPr>
        <p:spPr>
          <a:xfrm>
            <a:off x="4878522" y="1027653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DETECÇAO</a:t>
            </a:r>
          </a:p>
        </p:txBody>
      </p:sp>
      <p:sp>
        <p:nvSpPr>
          <p:cNvPr id="54" name="Retângulo Arredondado 53"/>
          <p:cNvSpPr/>
          <p:nvPr/>
        </p:nvSpPr>
        <p:spPr>
          <a:xfrm>
            <a:off x="5042322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56" name="Retângulo Arredondado 55"/>
          <p:cNvSpPr/>
          <p:nvPr/>
        </p:nvSpPr>
        <p:spPr>
          <a:xfrm>
            <a:off x="6060177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5899234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NALISE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TUAÇAO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148162" y="2370182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YPASS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7" name="Retângulo 66"/>
          <p:cNvSpPr/>
          <p:nvPr/>
        </p:nvSpPr>
        <p:spPr>
          <a:xfrm>
            <a:off x="5148162" y="2907296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0" name="Retângulo 69"/>
          <p:cNvSpPr/>
          <p:nvPr/>
        </p:nvSpPr>
        <p:spPr>
          <a:xfrm>
            <a:off x="6935460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VESTIG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CUSAÇAO</a:t>
            </a:r>
          </a:p>
        </p:txBody>
      </p:sp>
      <p:sp>
        <p:nvSpPr>
          <p:cNvPr id="80" name="Retângulo Arredondado 79"/>
          <p:cNvSpPr/>
          <p:nvPr/>
        </p:nvSpPr>
        <p:spPr>
          <a:xfrm>
            <a:off x="7099260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51" name="Retângulo 50"/>
          <p:cNvSpPr/>
          <p:nvPr/>
        </p:nvSpPr>
        <p:spPr>
          <a:xfrm>
            <a:off x="5148162" y="1567512"/>
            <a:ext cx="2752962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smtClean="0">
                <a:solidFill>
                  <a:schemeClr val="bg1"/>
                </a:solidFill>
                <a:latin typeface="Simplon BP Regular"/>
                <a:cs typeface="Simplon BP Regular"/>
              </a:rPr>
              <a:t>HPFMS (Móvel 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e Fixo R1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2" name="Retângulo 81"/>
          <p:cNvSpPr/>
          <p:nvPr/>
        </p:nvSpPr>
        <p:spPr>
          <a:xfrm>
            <a:off x="5148162" y="1973564"/>
            <a:ext cx="2752962" cy="2880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WISEMINER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3" name="Retângulo 82"/>
          <p:cNvSpPr/>
          <p:nvPr/>
        </p:nvSpPr>
        <p:spPr>
          <a:xfrm>
            <a:off x="6116169" y="2350171"/>
            <a:ext cx="1799654" cy="27062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SGA (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CoBilling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4" name="Retângulo 83"/>
          <p:cNvSpPr/>
          <p:nvPr/>
        </p:nvSpPr>
        <p:spPr>
          <a:xfrm>
            <a:off x="6116169" y="4272972"/>
            <a:ext cx="1799654" cy="315002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  <a:latin typeface="Simplon BP Regular"/>
                <a:cs typeface="Simplon BP Regular"/>
              </a:rPr>
              <a:t>BILL 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EVIEW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5" name="Retângulo 84"/>
          <p:cNvSpPr/>
          <p:nvPr/>
        </p:nvSpPr>
        <p:spPr>
          <a:xfrm>
            <a:off x="6116169" y="3889848"/>
            <a:ext cx="1799654" cy="288000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O PRE NEGATIVAÇAO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6" name="Retângulo 85"/>
          <p:cNvSpPr/>
          <p:nvPr/>
        </p:nvSpPr>
        <p:spPr>
          <a:xfrm>
            <a:off x="6116169" y="3491246"/>
            <a:ext cx="1799654" cy="30347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FRAUDEX (Roaming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7" name="Retângulo 86"/>
          <p:cNvSpPr/>
          <p:nvPr/>
        </p:nvSpPr>
        <p:spPr>
          <a:xfrm>
            <a:off x="6138520" y="3111323"/>
            <a:ext cx="1762603" cy="284801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FRAUDE INTERNA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Retângulo 87"/>
          <p:cNvSpPr/>
          <p:nvPr/>
        </p:nvSpPr>
        <p:spPr>
          <a:xfrm>
            <a:off x="6138521" y="2724642"/>
            <a:ext cx="1777301" cy="27607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  <a:latin typeface="Simplon BP Regular"/>
                <a:cs typeface="Simplon BP Regular"/>
              </a:rPr>
              <a:t>SPY (Internacional)</a:t>
            </a:r>
          </a:p>
        </p:txBody>
      </p:sp>
      <p:sp>
        <p:nvSpPr>
          <p:cNvPr id="89" name="Retângulo 88"/>
          <p:cNvSpPr/>
          <p:nvPr/>
        </p:nvSpPr>
        <p:spPr>
          <a:xfrm>
            <a:off x="7945185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OLITICA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REGULATORIO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3728988" y="4849182"/>
            <a:ext cx="5281102" cy="263387"/>
            <a:chOff x="3768744" y="4839243"/>
            <a:chExt cx="5281102" cy="263387"/>
          </a:xfrm>
        </p:grpSpPr>
        <p:sp>
          <p:nvSpPr>
            <p:cNvPr id="2" name="Retângulo 1"/>
            <p:cNvSpPr/>
            <p:nvPr/>
          </p:nvSpPr>
          <p:spPr>
            <a:xfrm>
              <a:off x="4562061" y="4921961"/>
              <a:ext cx="108000" cy="10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  <p:sp>
          <p:nvSpPr>
            <p:cNvPr id="4" name="CaixaDeTexto 3"/>
            <p:cNvSpPr txBox="1"/>
            <p:nvPr/>
          </p:nvSpPr>
          <p:spPr>
            <a:xfrm>
              <a:off x="4714687" y="4869061"/>
              <a:ext cx="747568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dirty="0" smtClean="0">
                  <a:latin typeface="Simplon BP" charset="0"/>
                  <a:ea typeface="Simplon BP" charset="0"/>
                  <a:cs typeface="Simplon BP" charset="0"/>
                </a:rPr>
                <a:t>Sistemas TI</a:t>
              </a:r>
            </a:p>
          </p:txBody>
        </p:sp>
        <p:sp>
          <p:nvSpPr>
            <p:cNvPr id="33" name="Retângulo 32"/>
            <p:cNvSpPr/>
            <p:nvPr/>
          </p:nvSpPr>
          <p:spPr>
            <a:xfrm>
              <a:off x="5912871" y="4921961"/>
              <a:ext cx="108000" cy="108000"/>
            </a:xfrm>
            <a:prstGeom prst="rect">
              <a:avLst/>
            </a:prstGeom>
            <a:solidFill>
              <a:srgbClr val="EA288C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  <p:sp>
          <p:nvSpPr>
            <p:cNvPr id="34" name="CaixaDeTexto 33"/>
            <p:cNvSpPr txBox="1"/>
            <p:nvPr/>
          </p:nvSpPr>
          <p:spPr>
            <a:xfrm>
              <a:off x="6065497" y="4869061"/>
              <a:ext cx="1101831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dirty="0" smtClean="0">
                  <a:latin typeface="Simplon BP" charset="0"/>
                  <a:ea typeface="Simplon BP" charset="0"/>
                  <a:cs typeface="Simplon BP" charset="0"/>
                </a:rPr>
                <a:t>Sistemas Negócio</a:t>
              </a:r>
            </a:p>
          </p:txBody>
        </p:sp>
        <p:sp>
          <p:nvSpPr>
            <p:cNvPr id="35" name="Retângulo 34"/>
            <p:cNvSpPr/>
            <p:nvPr/>
          </p:nvSpPr>
          <p:spPr>
            <a:xfrm>
              <a:off x="7331801" y="4921961"/>
              <a:ext cx="108000" cy="10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  <p:sp>
          <p:nvSpPr>
            <p:cNvPr id="36" name="CaixaDeTexto 35"/>
            <p:cNvSpPr txBox="1"/>
            <p:nvPr/>
          </p:nvSpPr>
          <p:spPr>
            <a:xfrm>
              <a:off x="7484427" y="4869061"/>
              <a:ext cx="1555481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dirty="0" smtClean="0">
                  <a:latin typeface="Simplon BP" charset="0"/>
                  <a:ea typeface="Simplon BP" charset="0"/>
                  <a:cs typeface="Simplon BP" charset="0"/>
                </a:rPr>
                <a:t>Processos / Serviços / BO</a:t>
              </a:r>
            </a:p>
          </p:txBody>
        </p:sp>
        <p:sp>
          <p:nvSpPr>
            <p:cNvPr id="37" name="CaixaDeTexto 36"/>
            <p:cNvSpPr txBox="1"/>
            <p:nvPr/>
          </p:nvSpPr>
          <p:spPr>
            <a:xfrm>
              <a:off x="3791603" y="4859122"/>
              <a:ext cx="641770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b="1" dirty="0" smtClean="0">
                  <a:latin typeface="Simplon BP" charset="0"/>
                  <a:ea typeface="Simplon BP" charset="0"/>
                  <a:cs typeface="Simplon BP" charset="0"/>
                </a:rPr>
                <a:t>Legenda:</a:t>
              </a:r>
            </a:p>
          </p:txBody>
        </p:sp>
        <p:sp>
          <p:nvSpPr>
            <p:cNvPr id="5" name="Retângulo 4"/>
            <p:cNvSpPr/>
            <p:nvPr/>
          </p:nvSpPr>
          <p:spPr>
            <a:xfrm>
              <a:off x="3768744" y="4839243"/>
              <a:ext cx="5281102" cy="263387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5072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tângulo Arredondado 80"/>
          <p:cNvSpPr/>
          <p:nvPr/>
        </p:nvSpPr>
        <p:spPr>
          <a:xfrm>
            <a:off x="8108986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Modernizar a arquitetura da gestão </a:t>
            </a:r>
            <a:r>
              <a:rPr lang="pt-BR" sz="2000" dirty="0">
                <a:solidFill>
                  <a:schemeClr val="accent1"/>
                </a:solidFill>
              </a:rPr>
              <a:t>de fraude </a:t>
            </a:r>
            <a:r>
              <a:rPr lang="pt-BR" sz="2000" dirty="0" smtClean="0">
                <a:solidFill>
                  <a:schemeClr val="accent1"/>
                </a:solidFill>
              </a:rPr>
              <a:t>aumenta a eficiência e nos prepara para novos modelos de negócio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115" name="Retângulo 114"/>
          <p:cNvSpPr/>
          <p:nvPr/>
        </p:nvSpPr>
        <p:spPr>
          <a:xfrm>
            <a:off x="476465" y="1333308"/>
            <a:ext cx="3015415" cy="347068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Modelagem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preditiva e análise comportamental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Visão </a:t>
            </a:r>
            <a:r>
              <a:rPr lang="pt-BR" sz="1400" i="1" dirty="0" err="1">
                <a:latin typeface="Simplon BP" charset="0"/>
                <a:ea typeface="Simplon BP" charset="0"/>
                <a:cs typeface="Simplon BP" charset="0"/>
              </a:rPr>
              <a:t>cross-channel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 em toda a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empresa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Regras e </a:t>
            </a:r>
            <a:r>
              <a:rPr lang="pt-BR" sz="1400" i="1" dirty="0" smtClean="0">
                <a:latin typeface="Simplon BP" charset="0"/>
                <a:ea typeface="Simplon BP" charset="0"/>
                <a:cs typeface="Simplon BP" charset="0"/>
              </a:rPr>
              <a:t>workflows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de </a:t>
            </a:r>
            <a:r>
              <a:rPr lang="pt-BR" sz="1400" dirty="0" err="1" smtClean="0">
                <a:latin typeface="Simplon BP" charset="0"/>
                <a:ea typeface="Simplon BP" charset="0"/>
                <a:cs typeface="Simplon BP" charset="0"/>
              </a:rPr>
              <a:t>anti-fraude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 unificados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Capacidade de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análise e tomada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de decisão em tempo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real;</a:t>
            </a: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i="1" dirty="0" smtClean="0">
                <a:latin typeface="Simplon BP" charset="0"/>
                <a:ea typeface="Simplon BP" charset="0"/>
                <a:cs typeface="Simplon BP" charset="0"/>
              </a:rPr>
              <a:t>Case </a:t>
            </a:r>
            <a:r>
              <a:rPr lang="pt-BR" sz="1400" i="1" dirty="0">
                <a:latin typeface="Simplon BP" charset="0"/>
                <a:ea typeface="Simplon BP" charset="0"/>
                <a:cs typeface="Simplon BP" charset="0"/>
              </a:rPr>
              <a:t>m</a:t>
            </a:r>
            <a:r>
              <a:rPr lang="pt-BR" sz="1400" i="1" dirty="0" smtClean="0">
                <a:latin typeface="Simplon BP" charset="0"/>
                <a:ea typeface="Simplon BP" charset="0"/>
                <a:cs typeface="Simplon BP" charset="0"/>
              </a:rPr>
              <a:t>anagement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de fraude que permite analistas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rastrear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, investigar e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atuar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Combate a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fraude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de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novos canais e serviços digitais.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2" name="Retângulo 31"/>
          <p:cNvSpPr/>
          <p:nvPr/>
        </p:nvSpPr>
        <p:spPr>
          <a:xfrm>
            <a:off x="444903" y="1052355"/>
            <a:ext cx="1872000" cy="21602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400" b="1" dirty="0" smtClean="0">
                <a:latin typeface="Simplon BP Regular"/>
                <a:cs typeface="Simplon BP Regular"/>
              </a:rPr>
              <a:t>Principais Benefícios:</a:t>
            </a:r>
          </a:p>
        </p:txBody>
      </p:sp>
      <p:sp>
        <p:nvSpPr>
          <p:cNvPr id="3" name="Retângulo Arredondado 2"/>
          <p:cNvSpPr/>
          <p:nvPr/>
        </p:nvSpPr>
        <p:spPr>
          <a:xfrm>
            <a:off x="3696867" y="1333310"/>
            <a:ext cx="12600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8250433" y="1563638"/>
            <a:ext cx="649505" cy="43577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EMI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Retângulo 47"/>
          <p:cNvSpPr/>
          <p:nvPr/>
        </p:nvSpPr>
        <p:spPr>
          <a:xfrm>
            <a:off x="8250433" y="208965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GA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Retângulo 48"/>
          <p:cNvSpPr/>
          <p:nvPr/>
        </p:nvSpPr>
        <p:spPr>
          <a:xfrm>
            <a:off x="8250433" y="2619086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3704882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TIMID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REVENÇAO</a:t>
            </a:r>
          </a:p>
        </p:txBody>
      </p:sp>
      <p:sp>
        <p:nvSpPr>
          <p:cNvPr id="53" name="Retângulo 52"/>
          <p:cNvSpPr/>
          <p:nvPr/>
        </p:nvSpPr>
        <p:spPr>
          <a:xfrm>
            <a:off x="4878522" y="1027653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DETECÇAO</a:t>
            </a:r>
          </a:p>
        </p:txBody>
      </p:sp>
      <p:sp>
        <p:nvSpPr>
          <p:cNvPr id="54" name="Retângulo Arredondado 53"/>
          <p:cNvSpPr/>
          <p:nvPr/>
        </p:nvSpPr>
        <p:spPr>
          <a:xfrm>
            <a:off x="5042322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56" name="Retângulo Arredondado 55"/>
          <p:cNvSpPr/>
          <p:nvPr/>
        </p:nvSpPr>
        <p:spPr>
          <a:xfrm>
            <a:off x="6060177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5899234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NALISE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TUAÇAO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183682" y="357671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YPASS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7" name="Retângulo 66"/>
          <p:cNvSpPr/>
          <p:nvPr/>
        </p:nvSpPr>
        <p:spPr>
          <a:xfrm>
            <a:off x="5183682" y="4113824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0" name="Retângulo 69"/>
          <p:cNvSpPr/>
          <p:nvPr/>
        </p:nvSpPr>
        <p:spPr>
          <a:xfrm>
            <a:off x="6935460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VESTIG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CUSAÇAO</a:t>
            </a:r>
          </a:p>
        </p:txBody>
      </p:sp>
      <p:sp>
        <p:nvSpPr>
          <p:cNvPr id="80" name="Retângulo Arredondado 79"/>
          <p:cNvSpPr/>
          <p:nvPr/>
        </p:nvSpPr>
        <p:spPr>
          <a:xfrm>
            <a:off x="7099260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89" name="Retângulo 88"/>
          <p:cNvSpPr/>
          <p:nvPr/>
        </p:nvSpPr>
        <p:spPr>
          <a:xfrm>
            <a:off x="7945185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OLITICA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REGULATORIO</a:t>
            </a:r>
          </a:p>
        </p:txBody>
      </p:sp>
      <p:sp>
        <p:nvSpPr>
          <p:cNvPr id="46" name="Retângulo 45"/>
          <p:cNvSpPr/>
          <p:nvPr/>
        </p:nvSpPr>
        <p:spPr>
          <a:xfrm>
            <a:off x="3758805" y="1563638"/>
            <a:ext cx="4186380" cy="17620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pPr algn="ctr"/>
            <a:r>
              <a:rPr lang="pt-BR" sz="1400" b="1" dirty="0" smtClean="0">
                <a:solidFill>
                  <a:schemeClr val="tx1"/>
                </a:solidFill>
                <a:latin typeface="Simplon BP Regular"/>
                <a:cs typeface="Simplon BP Regular"/>
              </a:rPr>
              <a:t>Gestão </a:t>
            </a:r>
            <a:r>
              <a:rPr lang="pt-BR" sz="1400" b="1" smtClean="0">
                <a:solidFill>
                  <a:schemeClr val="tx1"/>
                </a:solidFill>
                <a:latin typeface="Simplon BP Regular"/>
                <a:cs typeface="Simplon BP Regular"/>
              </a:rPr>
              <a:t>de Fraude</a:t>
            </a:r>
            <a:endParaRPr lang="pt-BR" sz="1400" b="1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6116170" y="2261564"/>
            <a:ext cx="1829016" cy="23264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6036660" y="2165662"/>
            <a:ext cx="1897349" cy="11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3851920" y="2298373"/>
            <a:ext cx="1026602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Subscription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rau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Mgmt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5112043" y="2298372"/>
            <a:ext cx="806685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rau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Detection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Retângulo 34"/>
          <p:cNvSpPr/>
          <p:nvPr/>
        </p:nvSpPr>
        <p:spPr>
          <a:xfrm>
            <a:off x="3840827" y="2752803"/>
            <a:ext cx="2066808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ingerprint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6325919" y="2302777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rau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Profil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tângulo 36"/>
          <p:cNvSpPr/>
          <p:nvPr/>
        </p:nvSpPr>
        <p:spPr>
          <a:xfrm>
            <a:off x="6325918" y="4102883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Rules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Mgmt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6325918" y="3652855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oot Cause</a:t>
            </a:r>
          </a:p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Analysis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6325918" y="3202829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Alarm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Scor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6325918" y="2752803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ase Management</a:t>
            </a:r>
          </a:p>
        </p:txBody>
      </p:sp>
      <p:sp>
        <p:nvSpPr>
          <p:cNvPr id="42" name="Retângulo 41"/>
          <p:cNvSpPr/>
          <p:nvPr/>
        </p:nvSpPr>
        <p:spPr>
          <a:xfrm>
            <a:off x="3851920" y="1851670"/>
            <a:ext cx="3913998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Dashboar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&amp;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Report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41" name="Grupo 40"/>
          <p:cNvGrpSpPr/>
          <p:nvPr/>
        </p:nvGrpSpPr>
        <p:grpSpPr>
          <a:xfrm>
            <a:off x="5503210" y="4849182"/>
            <a:ext cx="3481156" cy="263387"/>
            <a:chOff x="3768744" y="4839243"/>
            <a:chExt cx="3481156" cy="263387"/>
          </a:xfrm>
        </p:grpSpPr>
        <p:sp>
          <p:nvSpPr>
            <p:cNvPr id="43" name="Retângulo 42"/>
            <p:cNvSpPr/>
            <p:nvPr/>
          </p:nvSpPr>
          <p:spPr>
            <a:xfrm>
              <a:off x="4562061" y="4921961"/>
              <a:ext cx="108000" cy="10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  <p:sp>
          <p:nvSpPr>
            <p:cNvPr id="44" name="CaixaDeTexto 43"/>
            <p:cNvSpPr txBox="1"/>
            <p:nvPr/>
          </p:nvSpPr>
          <p:spPr>
            <a:xfrm>
              <a:off x="4714687" y="4869061"/>
              <a:ext cx="1350297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dirty="0" smtClean="0">
                  <a:latin typeface="Simplon BP" charset="0"/>
                  <a:ea typeface="Simplon BP" charset="0"/>
                  <a:cs typeface="Simplon BP" charset="0"/>
                </a:rPr>
                <a:t>Sistemas Regulatórios</a:t>
              </a:r>
            </a:p>
          </p:txBody>
        </p:sp>
        <p:sp>
          <p:nvSpPr>
            <p:cNvPr id="51" name="Retângulo 50"/>
            <p:cNvSpPr/>
            <p:nvPr/>
          </p:nvSpPr>
          <p:spPr>
            <a:xfrm>
              <a:off x="6186200" y="4921961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6338826" y="4869061"/>
              <a:ext cx="911074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dirty="0" smtClean="0">
                  <a:latin typeface="Simplon BP" charset="0"/>
                  <a:ea typeface="Simplon BP" charset="0"/>
                  <a:cs typeface="Simplon BP" charset="0"/>
                </a:rPr>
                <a:t>FMS Unificado</a:t>
              </a:r>
            </a:p>
          </p:txBody>
        </p:sp>
        <p:sp>
          <p:nvSpPr>
            <p:cNvPr id="57" name="CaixaDeTexto 56"/>
            <p:cNvSpPr txBox="1"/>
            <p:nvPr/>
          </p:nvSpPr>
          <p:spPr>
            <a:xfrm>
              <a:off x="3791603" y="4859122"/>
              <a:ext cx="641770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b="1" dirty="0" smtClean="0">
                  <a:latin typeface="Simplon BP" charset="0"/>
                  <a:ea typeface="Simplon BP" charset="0"/>
                  <a:cs typeface="Simplon BP" charset="0"/>
                </a:rPr>
                <a:t>Legenda:</a:t>
              </a:r>
            </a:p>
          </p:txBody>
        </p:sp>
        <p:sp>
          <p:nvSpPr>
            <p:cNvPr id="58" name="Retângulo 57"/>
            <p:cNvSpPr/>
            <p:nvPr/>
          </p:nvSpPr>
          <p:spPr>
            <a:xfrm>
              <a:off x="3768744" y="4839243"/>
              <a:ext cx="3481156" cy="263387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3093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planejamos um </a:t>
            </a:r>
            <a:r>
              <a:rPr lang="pt-BR" sz="2000" i="1" dirty="0" err="1" smtClean="0">
                <a:solidFill>
                  <a:schemeClr val="accent1"/>
                </a:solidFill>
              </a:rPr>
              <a:t>roadmap</a:t>
            </a:r>
            <a:r>
              <a:rPr lang="pt-BR" sz="2000" i="1" dirty="0" smtClean="0">
                <a:solidFill>
                  <a:schemeClr val="accent1"/>
                </a:solidFill>
              </a:rPr>
              <a:t> </a:t>
            </a:r>
            <a:r>
              <a:rPr lang="pt-BR" sz="2000" dirty="0" smtClean="0">
                <a:solidFill>
                  <a:schemeClr val="accent1"/>
                </a:solidFill>
              </a:rPr>
              <a:t> priorizando os principais problemas e benefícios mapeados até o momento.</a:t>
            </a:r>
            <a:endParaRPr lang="pt-BR" sz="2000" dirty="0">
              <a:solidFill>
                <a:schemeClr val="accent1"/>
              </a:solidFill>
            </a:endParaRPr>
          </a:p>
        </p:txBody>
      </p:sp>
      <p:pic>
        <p:nvPicPr>
          <p:cNvPr id="42" name="Diagrama 24"/>
          <p:cNvPicPr>
            <a:picLocks noChangeArrowheads="1"/>
          </p:cNvPicPr>
          <p:nvPr/>
        </p:nvPicPr>
        <p:blipFill>
          <a:blip r:embed="rId3" cstate="print"/>
          <a:srcRect b="7692"/>
          <a:stretch>
            <a:fillRect/>
          </a:stretch>
        </p:blipFill>
        <p:spPr bwMode="auto">
          <a:xfrm>
            <a:off x="2464693" y="1769268"/>
            <a:ext cx="5156200" cy="27368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44" name="Text Box 73"/>
          <p:cNvSpPr txBox="1">
            <a:spLocks noChangeArrowheads="1"/>
          </p:cNvSpPr>
          <p:nvPr/>
        </p:nvSpPr>
        <p:spPr bwMode="auto">
          <a:xfrm>
            <a:off x="3770387" y="3572668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 smtClean="0">
                <a:latin typeface="+mn-lt"/>
                <a:cs typeface="+mn-cs"/>
              </a:rPr>
              <a:t>Fase</a:t>
            </a:r>
            <a:r>
              <a:rPr lang="en-US" sz="800" b="1" dirty="0" smtClean="0">
                <a:latin typeface="+mn-lt"/>
                <a:cs typeface="+mn-cs"/>
              </a:rPr>
              <a:t> 1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6" name="Text Box 75"/>
          <p:cNvSpPr txBox="1">
            <a:spLocks noChangeArrowheads="1"/>
          </p:cNvSpPr>
          <p:nvPr/>
        </p:nvSpPr>
        <p:spPr bwMode="auto">
          <a:xfrm>
            <a:off x="4422080" y="3174206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 smtClean="0"/>
              <a:t>Fase</a:t>
            </a:r>
            <a:r>
              <a:rPr lang="en-US" sz="800" b="1" dirty="0" smtClean="0">
                <a:latin typeface="+mn-lt"/>
                <a:cs typeface="+mn-cs"/>
              </a:rPr>
              <a:t> 2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7" name="Text Box 77"/>
          <p:cNvSpPr txBox="1">
            <a:spLocks noChangeArrowheads="1"/>
          </p:cNvSpPr>
          <p:nvPr/>
        </p:nvSpPr>
        <p:spPr bwMode="auto">
          <a:xfrm>
            <a:off x="5179318" y="2885281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800" b="1" dirty="0" smtClean="0">
                <a:latin typeface="+mn-lt"/>
                <a:cs typeface="+mn-cs"/>
              </a:rPr>
              <a:t>Fase 3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8" name="Text Box 78"/>
          <p:cNvSpPr txBox="1">
            <a:spLocks noChangeArrowheads="1"/>
          </p:cNvSpPr>
          <p:nvPr/>
        </p:nvSpPr>
        <p:spPr bwMode="auto">
          <a:xfrm>
            <a:off x="5768347" y="2704158"/>
            <a:ext cx="94158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 smtClean="0">
                <a:latin typeface="+mn-lt"/>
                <a:cs typeface="+mn-cs"/>
              </a:rPr>
              <a:t>Onda</a:t>
            </a:r>
            <a:r>
              <a:rPr lang="en-US" sz="800" b="1" dirty="0" smtClean="0">
                <a:latin typeface="+mn-lt"/>
                <a:cs typeface="+mn-cs"/>
              </a:rPr>
              <a:t> de </a:t>
            </a:r>
            <a:r>
              <a:rPr lang="en-US" sz="800" b="1" dirty="0" err="1" smtClean="0">
                <a:latin typeface="+mn-lt"/>
                <a:cs typeface="+mn-cs"/>
              </a:rPr>
              <a:t>evolução</a:t>
            </a:r>
            <a:r>
              <a:rPr lang="en-US" sz="800" b="1" dirty="0" smtClean="0">
                <a:latin typeface="+mn-lt"/>
                <a:cs typeface="+mn-cs"/>
              </a:rPr>
              <a:t/>
            </a:r>
            <a:br>
              <a:rPr lang="en-US" sz="800" b="1" dirty="0" smtClean="0">
                <a:latin typeface="+mn-lt"/>
                <a:cs typeface="+mn-cs"/>
              </a:rPr>
            </a:br>
            <a:r>
              <a:rPr lang="en-US" sz="800" b="1" dirty="0" err="1" smtClean="0">
                <a:latin typeface="+mn-lt"/>
                <a:cs typeface="+mn-cs"/>
              </a:rPr>
              <a:t>contínua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9" name="Text Box 109"/>
          <p:cNvSpPr txBox="1">
            <a:spLocks noChangeArrowheads="1"/>
          </p:cNvSpPr>
          <p:nvPr/>
        </p:nvSpPr>
        <p:spPr bwMode="auto">
          <a:xfrm>
            <a:off x="3131840" y="4230936"/>
            <a:ext cx="1765300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1000" b="1" dirty="0">
                <a:solidFill>
                  <a:srgbClr val="1D04D6"/>
                </a:solidFill>
                <a:latin typeface="Georgia" pitchFamily="18" charset="0"/>
              </a:rPr>
              <a:t>Situação atual</a:t>
            </a:r>
            <a:endParaRPr lang="pt-BR" sz="1000" dirty="0">
              <a:solidFill>
                <a:srgbClr val="1D04D6"/>
              </a:solidFill>
              <a:latin typeface="Georgia" pitchFamily="18" charset="0"/>
            </a:endParaRPr>
          </a:p>
        </p:txBody>
      </p:sp>
      <p:sp>
        <p:nvSpPr>
          <p:cNvPr id="52" name="Text Box 109"/>
          <p:cNvSpPr txBox="1">
            <a:spLocks noChangeArrowheads="1"/>
          </p:cNvSpPr>
          <p:nvPr/>
        </p:nvSpPr>
        <p:spPr bwMode="auto">
          <a:xfrm>
            <a:off x="7001768" y="1715667"/>
            <a:ext cx="1890712" cy="109414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pt-BR" sz="1200" b="1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pt-BR" sz="1200" b="1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Visão futura de TI</a:t>
            </a:r>
            <a:endParaRPr lang="pt-BR" sz="1200" b="1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Redução de perdas, valor </a:t>
            </a:r>
            <a:r>
              <a:rPr lang="pt-BR" sz="1050" i="1" dirty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agregado ao </a:t>
            </a: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negócio, agilidade, flexibilidade e</a:t>
            </a:r>
            <a:b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</a:b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inovação </a:t>
            </a:r>
            <a:r>
              <a:rPr lang="pt-BR" sz="1050" i="1" dirty="0">
                <a:solidFill>
                  <a:schemeClr val="accent5">
                    <a:lumMod val="75000"/>
                  </a:schemeClr>
                </a:solidFill>
              </a:rPr>
              <a:t>t</a:t>
            </a: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ecnológica</a:t>
            </a:r>
            <a:endParaRPr lang="pt-BR" sz="1050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pt-BR" sz="1050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3" name="TextBox 22"/>
          <p:cNvSpPr txBox="1"/>
          <p:nvPr/>
        </p:nvSpPr>
        <p:spPr>
          <a:xfrm>
            <a:off x="435292" y="3115562"/>
            <a:ext cx="1869877" cy="1685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50" b="1" dirty="0" smtClean="0">
                <a:solidFill>
                  <a:srgbClr val="CC5200"/>
                </a:solidFill>
                <a:latin typeface="Georgia" pitchFamily="18" charset="0"/>
                <a:cs typeface="+mn-cs"/>
              </a:rPr>
              <a:t>Evolução</a:t>
            </a: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050" b="1" dirty="0">
              <a:solidFill>
                <a:srgbClr val="CC5200"/>
              </a:solidFill>
              <a:latin typeface="Georgia" pitchFamily="18" charset="0"/>
              <a:cs typeface="+mn-cs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Elimina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serviços de terceiros para tráfego e análise de crédito (1 MM por ano)</a:t>
            </a:r>
            <a:br>
              <a:rPr lang="pt-BR" sz="1000" dirty="0">
                <a:solidFill>
                  <a:srgbClr val="CC5200"/>
                </a:solidFill>
                <a:latin typeface="Georgia" pitchFamily="18" charset="0"/>
              </a:rPr>
            </a:b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Unificação da análise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fraudes de </a:t>
            </a:r>
            <a:r>
              <a:rPr lang="pt-BR" sz="1000" dirty="0" err="1">
                <a:solidFill>
                  <a:srgbClr val="CC5200"/>
                </a:solidFill>
                <a:latin typeface="Georgia" pitchFamily="18" charset="0"/>
              </a:rPr>
              <a:t>Cobilling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, Internacional, Roaming e </a:t>
            </a:r>
            <a:r>
              <a:rPr lang="pt-BR" sz="1000" dirty="0" err="1">
                <a:solidFill>
                  <a:srgbClr val="CC5200"/>
                </a:solidFill>
                <a:latin typeface="Georgia" pitchFamily="18" charset="0"/>
              </a:rPr>
              <a:t>BOs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 de 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análise para todos os produtos e regiões</a:t>
            </a:r>
          </a:p>
          <a:p>
            <a:pPr indent="-274320"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Redu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custos de OPEX de sistemas (1 MM por ano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)</a:t>
            </a:r>
            <a:endParaRPr lang="pt-BR" sz="1000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900" dirty="0">
              <a:solidFill>
                <a:srgbClr val="CC5200"/>
              </a:solidFill>
              <a:latin typeface="Georgia" pitchFamily="18" charset="0"/>
              <a:cs typeface="+mn-cs"/>
            </a:endParaRPr>
          </a:p>
        </p:txBody>
      </p:sp>
      <p:sp>
        <p:nvSpPr>
          <p:cNvPr id="54" name="TextBox 23"/>
          <p:cNvSpPr txBox="1"/>
          <p:nvPr/>
        </p:nvSpPr>
        <p:spPr>
          <a:xfrm>
            <a:off x="435293" y="1481691"/>
            <a:ext cx="2032967" cy="1328434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50" b="1" i="1" dirty="0" smtClean="0">
                <a:solidFill>
                  <a:srgbClr val="CC5200"/>
                </a:solidFill>
                <a:latin typeface="Georgia" pitchFamily="18" charset="0"/>
                <a:cs typeface="+mn-cs"/>
              </a:rPr>
              <a:t>Quickwins</a:t>
            </a:r>
            <a:endParaRPr lang="pt-BR" sz="1050" b="1" i="1" dirty="0">
              <a:solidFill>
                <a:srgbClr val="CC5200"/>
              </a:solidFill>
              <a:latin typeface="Georgia" pitchFamily="18" charset="0"/>
              <a:cs typeface="+mn-cs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000" dirty="0">
              <a:solidFill>
                <a:srgbClr val="CC5200"/>
              </a:solidFill>
              <a:latin typeface="Georgia" pitchFamily="18" charset="0"/>
              <a:cs typeface="+mn-cs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Redu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Fraude: R$ 15-20MM 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A.A</a:t>
            </a:r>
            <a:endParaRPr lang="pt-BR" sz="1000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Integra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Fraudes de TV e Fixo R2 (JEC -30%; Instalação -30%) </a:t>
            </a: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Melhoria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Móvel + Fixa R1 (JEC -15%; Instalação -15%) </a:t>
            </a:r>
          </a:p>
        </p:txBody>
      </p:sp>
      <p:cxnSp>
        <p:nvCxnSpPr>
          <p:cNvPr id="55" name="Straight Arrow Connector 41"/>
          <p:cNvCxnSpPr>
            <a:cxnSpLocks noChangeShapeType="1"/>
          </p:cNvCxnSpPr>
          <p:nvPr/>
        </p:nvCxnSpPr>
        <p:spPr bwMode="auto">
          <a:xfrm flipV="1">
            <a:off x="2788543" y="1453356"/>
            <a:ext cx="0" cy="33115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56" name="Straight Arrow Connector 43"/>
          <p:cNvCxnSpPr>
            <a:cxnSpLocks noChangeShapeType="1"/>
          </p:cNvCxnSpPr>
          <p:nvPr/>
        </p:nvCxnSpPr>
        <p:spPr bwMode="auto">
          <a:xfrm>
            <a:off x="2788543" y="4768056"/>
            <a:ext cx="453707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60" name="TextBox 47"/>
          <p:cNvSpPr txBox="1">
            <a:spLocks noChangeArrowheads="1"/>
          </p:cNvSpPr>
          <p:nvPr/>
        </p:nvSpPr>
        <p:spPr bwMode="auto">
          <a:xfrm>
            <a:off x="2356743" y="1059656"/>
            <a:ext cx="8763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indent="-273050" algn="ctr"/>
            <a:r>
              <a:rPr lang="pt-BR" sz="900" b="1">
                <a:latin typeface="Georgia" pitchFamily="18" charset="0"/>
              </a:rPr>
              <a:t>Valor de TI ao negócio</a:t>
            </a:r>
            <a:endParaRPr lang="pt-BR" sz="700">
              <a:latin typeface="Georgia" pitchFamily="18" charset="0"/>
            </a:endParaRPr>
          </a:p>
        </p:txBody>
      </p:sp>
      <p:sp>
        <p:nvSpPr>
          <p:cNvPr id="66" name="TextBox 48"/>
          <p:cNvSpPr txBox="1">
            <a:spLocks noChangeArrowheads="1"/>
          </p:cNvSpPr>
          <p:nvPr/>
        </p:nvSpPr>
        <p:spPr bwMode="auto">
          <a:xfrm>
            <a:off x="7325618" y="4696618"/>
            <a:ext cx="876300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indent="-273050" algn="ctr"/>
            <a:r>
              <a:rPr lang="pt-BR" sz="900" b="1">
                <a:latin typeface="Georgia" pitchFamily="18" charset="0"/>
              </a:rPr>
              <a:t>Tempo</a:t>
            </a:r>
            <a:endParaRPr lang="pt-BR" sz="700">
              <a:latin typeface="Georgia" pitchFamily="18" charset="0"/>
            </a:endParaRPr>
          </a:p>
        </p:txBody>
      </p:sp>
      <p:cxnSp>
        <p:nvCxnSpPr>
          <p:cNvPr id="67" name="Straight Connector 51"/>
          <p:cNvCxnSpPr>
            <a:cxnSpLocks noChangeShapeType="1"/>
          </p:cNvCxnSpPr>
          <p:nvPr/>
        </p:nvCxnSpPr>
        <p:spPr bwMode="auto">
          <a:xfrm>
            <a:off x="4372868" y="4696618"/>
            <a:ext cx="0" cy="179388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70" name="Text Box 109"/>
          <p:cNvSpPr txBox="1">
            <a:spLocks noChangeArrowheads="1"/>
          </p:cNvSpPr>
          <p:nvPr/>
        </p:nvSpPr>
        <p:spPr bwMode="auto">
          <a:xfrm>
            <a:off x="3650376" y="2118840"/>
            <a:ext cx="1079898" cy="62786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i="1" dirty="0" smtClean="0">
                <a:latin typeface="Georgia" pitchFamily="18" charset="0"/>
              </a:rPr>
              <a:t>As Is</a:t>
            </a:r>
            <a:r>
              <a:rPr lang="pt-BR" sz="800" b="1" dirty="0" smtClean="0">
                <a:latin typeface="Georgia" pitchFamily="18" charset="0"/>
              </a:rPr>
              <a:t> de Fraudes de Cadastro e Tráfego</a:t>
            </a:r>
          </a:p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dirty="0" smtClean="0">
                <a:latin typeface="Georgia" pitchFamily="18" charset="0"/>
              </a:rPr>
              <a:t>(HPFMS + Subscritores) - Móvel e Fixo)</a:t>
            </a:r>
            <a:br>
              <a:rPr lang="pt-BR" sz="800" dirty="0" smtClean="0">
                <a:latin typeface="Georgia" pitchFamily="18" charset="0"/>
              </a:rPr>
            </a:br>
            <a:r>
              <a:rPr lang="pt-BR" sz="800" dirty="0" smtClean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6 a 8 meses</a:t>
            </a:r>
            <a:endParaRPr lang="pt-BR" sz="800" dirty="0">
              <a:solidFill>
                <a:schemeClr val="accent1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80" name="Text Box 109"/>
          <p:cNvSpPr txBox="1">
            <a:spLocks noChangeArrowheads="1"/>
          </p:cNvSpPr>
          <p:nvPr/>
        </p:nvSpPr>
        <p:spPr bwMode="auto">
          <a:xfrm>
            <a:off x="2987824" y="2983994"/>
            <a:ext cx="1082848" cy="39395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i="1" dirty="0" smtClean="0">
                <a:latin typeface="Georgia" pitchFamily="18" charset="0"/>
              </a:rPr>
              <a:t>GAP’s </a:t>
            </a:r>
            <a:r>
              <a:rPr lang="pt-BR" sz="800" b="1" dirty="0" smtClean="0">
                <a:latin typeface="Georgia" pitchFamily="18" charset="0"/>
              </a:rPr>
              <a:t>de Fraudes de Subscrição </a:t>
            </a:r>
            <a:br>
              <a:rPr lang="pt-BR" sz="800" b="1" dirty="0" smtClean="0">
                <a:latin typeface="Georgia" pitchFamily="18" charset="0"/>
              </a:rPr>
            </a:br>
            <a:r>
              <a:rPr lang="pt-BR" sz="800" b="1" dirty="0" smtClean="0">
                <a:latin typeface="Georgia" pitchFamily="18" charset="0"/>
              </a:rPr>
              <a:t>(</a:t>
            </a:r>
            <a:r>
              <a:rPr lang="pt-BR" sz="800" dirty="0" smtClean="0">
                <a:latin typeface="Georgia" pitchFamily="18" charset="0"/>
              </a:rPr>
              <a:t>Fixo R2 e TV )</a:t>
            </a:r>
            <a:br>
              <a:rPr lang="pt-BR" sz="800" dirty="0" smtClean="0">
                <a:latin typeface="Georgia" pitchFamily="18" charset="0"/>
              </a:rPr>
            </a:br>
            <a:r>
              <a:rPr lang="pt-BR" sz="800" dirty="0" smtClean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8 a 12 meses</a:t>
            </a:r>
            <a:endParaRPr lang="pt-BR" sz="800" dirty="0">
              <a:solidFill>
                <a:schemeClr val="accent1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81" name="Text Box 109"/>
          <p:cNvSpPr txBox="1">
            <a:spLocks noChangeArrowheads="1"/>
          </p:cNvSpPr>
          <p:nvPr/>
        </p:nvSpPr>
        <p:spPr bwMode="auto">
          <a:xfrm>
            <a:off x="4827780" y="1458877"/>
            <a:ext cx="1084709" cy="82484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dirty="0" smtClean="0">
                <a:latin typeface="Georgia" pitchFamily="18" charset="0"/>
              </a:rPr>
              <a:t>Sistemas Legados</a:t>
            </a:r>
            <a:r>
              <a:rPr lang="pt-BR" sz="800" dirty="0">
                <a:latin typeface="Georgia" pitchFamily="18" charset="0"/>
              </a:rPr>
              <a:t> </a:t>
            </a:r>
            <a:r>
              <a:rPr lang="pt-BR" sz="800" b="1" dirty="0" smtClean="0">
                <a:latin typeface="Georgia" pitchFamily="18" charset="0"/>
              </a:rPr>
              <a:t>e demais </a:t>
            </a:r>
            <a:r>
              <a:rPr lang="pt-BR" sz="800" b="1" i="1" dirty="0" smtClean="0">
                <a:latin typeface="Georgia" pitchFamily="18" charset="0"/>
              </a:rPr>
              <a:t>GAP’s</a:t>
            </a:r>
            <a:r>
              <a:rPr lang="pt-BR" sz="800" b="1" dirty="0" smtClean="0">
                <a:latin typeface="Georgia" pitchFamily="18" charset="0"/>
              </a:rPr>
              <a:t> </a:t>
            </a:r>
            <a:r>
              <a:rPr lang="pt-BR" sz="800" dirty="0" smtClean="0">
                <a:latin typeface="Georgia" pitchFamily="18" charset="0"/>
              </a:rPr>
              <a:t>(Descontinuação do </a:t>
            </a:r>
            <a:r>
              <a:rPr lang="pt-BR" sz="800" dirty="0" err="1" smtClean="0">
                <a:latin typeface="Georgia" pitchFamily="18" charset="0"/>
              </a:rPr>
              <a:t>Wiseminer</a:t>
            </a:r>
            <a:r>
              <a:rPr lang="pt-BR" sz="800" dirty="0" smtClean="0">
                <a:latin typeface="Georgia" pitchFamily="18" charset="0"/>
              </a:rPr>
              <a:t>, gestão e análise de crédito e evolução da  Gestão de Fraude Interna )</a:t>
            </a:r>
          </a:p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dirty="0" smtClean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8 a 12 meses</a:t>
            </a:r>
          </a:p>
        </p:txBody>
      </p:sp>
      <p:sp>
        <p:nvSpPr>
          <p:cNvPr id="84" name="Text Box 109"/>
          <p:cNvSpPr txBox="1">
            <a:spLocks noChangeArrowheads="1"/>
          </p:cNvSpPr>
          <p:nvPr/>
        </p:nvSpPr>
        <p:spPr bwMode="auto">
          <a:xfrm>
            <a:off x="5862809" y="1136530"/>
            <a:ext cx="1229471" cy="2954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dirty="0" smtClean="0">
                <a:latin typeface="Georgia" pitchFamily="18" charset="0"/>
              </a:rPr>
              <a:t>Jornada Digital </a:t>
            </a:r>
            <a:r>
              <a:rPr lang="pt-BR" sz="800" dirty="0" smtClean="0">
                <a:latin typeface="Georgia" pitchFamily="18" charset="0"/>
              </a:rPr>
              <a:t>(Competências de gestão de  fraudes </a:t>
            </a:r>
            <a:r>
              <a:rPr lang="pt-BR" sz="800" i="1" dirty="0" smtClean="0">
                <a:latin typeface="Georgia" pitchFamily="18" charset="0"/>
              </a:rPr>
              <a:t>OTT</a:t>
            </a:r>
            <a:r>
              <a:rPr lang="pt-BR" sz="800" dirty="0" smtClean="0">
                <a:latin typeface="Georgia" pitchFamily="18" charset="0"/>
              </a:rPr>
              <a:t>)</a:t>
            </a:r>
            <a:endParaRPr lang="pt-BR" sz="800" b="1" dirty="0" smtClean="0">
              <a:latin typeface="Georgia" pitchFamily="18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3272799" y="4819530"/>
            <a:ext cx="649784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900" b="1" i="1" dirty="0" err="1" smtClean="0">
                <a:latin typeface="Simplon BP" charset="0"/>
                <a:ea typeface="Simplon BP" charset="0"/>
                <a:cs typeface="Simplon BP" charset="0"/>
              </a:rPr>
              <a:t>Quickwins</a:t>
            </a:r>
            <a:endParaRPr lang="pt-BR" sz="900" b="1" i="1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85" name="CaixaDeTexto 84"/>
          <p:cNvSpPr txBox="1"/>
          <p:nvPr/>
        </p:nvSpPr>
        <p:spPr>
          <a:xfrm>
            <a:off x="5605233" y="4819530"/>
            <a:ext cx="585664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900" b="1" dirty="0" smtClean="0">
                <a:latin typeface="Simplon BP" charset="0"/>
                <a:ea typeface="Simplon BP" charset="0"/>
                <a:cs typeface="Simplon BP" charset="0"/>
              </a:rPr>
              <a:t>Evolução</a:t>
            </a:r>
          </a:p>
        </p:txBody>
      </p:sp>
    </p:spTree>
    <p:extLst>
      <p:ext uri="{BB962C8B-B14F-4D97-AF65-F5344CB8AC3E}">
        <p14:creationId xmlns:p14="http://schemas.microsoft.com/office/powerpoint/2010/main" val="1216326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ESTAMOS EM FASE DE DETALHAMENTO DE RFP PARA EVOLUÇÃO SISTÊMICA DAS </a:t>
            </a:r>
            <a:r>
              <a:rPr lang="pt-BR" sz="2000" dirty="0" err="1" smtClean="0">
                <a:solidFill>
                  <a:schemeClr val="accent1"/>
                </a:solidFill>
              </a:rPr>
              <a:t>NoSSAS</a:t>
            </a:r>
            <a:r>
              <a:rPr lang="pt-BR" sz="2000" dirty="0" smtClean="0">
                <a:solidFill>
                  <a:schemeClr val="accent1"/>
                </a:solidFill>
              </a:rPr>
              <a:t> Competências de GESTÃO DE FRAUDES 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935694" y="2313535"/>
            <a:ext cx="2880320" cy="191936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2000" b="1" dirty="0" smtClean="0">
                <a:latin typeface="Simplon BP" charset="0"/>
                <a:ea typeface="Simplon BP" charset="0"/>
                <a:cs typeface="Simplon BP" charset="0"/>
              </a:rPr>
              <a:t>“Realizamos </a:t>
            </a:r>
            <a:r>
              <a:rPr lang="pt-BR" sz="2000" b="1" i="1" dirty="0" smtClean="0">
                <a:latin typeface="Simplon BP" charset="0"/>
                <a:ea typeface="Simplon BP" charset="0"/>
                <a:cs typeface="Simplon BP" charset="0"/>
              </a:rPr>
              <a:t>benchmarking</a:t>
            </a:r>
            <a:r>
              <a:rPr lang="pt-BR" sz="2000" b="1" dirty="0" smtClean="0">
                <a:latin typeface="Simplon BP" charset="0"/>
                <a:ea typeface="Simplon BP" charset="0"/>
                <a:cs typeface="Simplon BP" charset="0"/>
              </a:rPr>
              <a:t>, </a:t>
            </a:r>
            <a:r>
              <a:rPr lang="pt-BR" sz="2000" b="1" i="1" dirty="0" smtClean="0">
                <a:latin typeface="Simplon BP" charset="0"/>
                <a:ea typeface="Simplon BP" charset="0"/>
                <a:cs typeface="Simplon BP" charset="0"/>
              </a:rPr>
              <a:t>demos</a:t>
            </a:r>
            <a:r>
              <a:rPr lang="pt-BR" sz="2000" b="1" dirty="0" smtClean="0">
                <a:latin typeface="Simplon BP" charset="0"/>
                <a:ea typeface="Simplon BP" charset="0"/>
                <a:cs typeface="Simplon BP" charset="0"/>
              </a:rPr>
              <a:t> e estudos para chegar a um </a:t>
            </a:r>
            <a:r>
              <a:rPr lang="pt-BR" sz="2000" b="1" i="1" dirty="0" err="1" smtClean="0">
                <a:latin typeface="Simplon BP" charset="0"/>
                <a:ea typeface="Simplon BP" charset="0"/>
                <a:cs typeface="Simplon BP" charset="0"/>
              </a:rPr>
              <a:t>shortlist</a:t>
            </a:r>
            <a:r>
              <a:rPr lang="pt-BR" sz="2000" b="1" dirty="0" smtClean="0">
                <a:latin typeface="Simplon BP" charset="0"/>
                <a:ea typeface="Simplon BP" charset="0"/>
                <a:cs typeface="Simplon BP" charset="0"/>
              </a:rPr>
              <a:t> de fornecedores para a RFP...”</a:t>
            </a:r>
          </a:p>
        </p:txBody>
      </p:sp>
      <p:pic>
        <p:nvPicPr>
          <p:cNvPr id="29" name="Picture 6" descr="WeDo Technolog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677" y="2273779"/>
            <a:ext cx="1240024" cy="596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http://adlermarketingservices.com/wp-content/uploads/2016/03/cvidya_logo-300x14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4101954"/>
            <a:ext cx="1034083" cy="486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http://stuffled.com/vector/wp-content/uploads/sites/5/2014/07/Teradata-Logo-EPS-vector-imag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6155" y="2591890"/>
            <a:ext cx="1183033" cy="788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ttps://upload.wikimedia.org/wikipedia/en/thumb/9/9f/Hewlett-Packard_logo.svg/1280px-Hewlett-Packard_logo.sv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357553"/>
            <a:ext cx="791647" cy="504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https://upload.wikimedia.org/wikipedia/commons/9/97/%E0%A6%B8%E0%A7%8D%E0%A6%AF%E0%A6%BE%E0%A6%B8_%E0%A6%B2%E0%A7%8B%E0%A6%97%E0%A7%8B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341" y="4323870"/>
            <a:ext cx="943777" cy="408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609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>
                <a:solidFill>
                  <a:schemeClr val="accent1"/>
                </a:solidFill>
              </a:rPr>
              <a:t>PESO DOS PRINCIPAIS DIRECIONADORES QUE IRÃO BALIZAR AS FUTURAS DECISÕES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384304" y="1114479"/>
            <a:ext cx="185199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latin typeface="Simplon BP Regular" pitchFamily="2" charset="0"/>
              </a:rPr>
              <a:t>Redução de </a:t>
            </a:r>
            <a:r>
              <a:rPr lang="pt-BR" sz="1000" dirty="0" smtClean="0">
                <a:latin typeface="Simplon BP Regular" pitchFamily="2" charset="0"/>
              </a:rPr>
              <a:t>OPEX, de serviços </a:t>
            </a:r>
            <a:r>
              <a:rPr lang="pt-BR" sz="1000" i="1" dirty="0" err="1">
                <a:latin typeface="Simplon BP Regular" pitchFamily="2" charset="0"/>
              </a:rPr>
              <a:t>on</a:t>
            </a:r>
            <a:r>
              <a:rPr lang="pt-BR" sz="1000" i="1" dirty="0">
                <a:latin typeface="Simplon BP Regular" pitchFamily="2" charset="0"/>
              </a:rPr>
              <a:t> </a:t>
            </a:r>
            <a:r>
              <a:rPr lang="pt-BR" sz="1000" i="1" dirty="0" err="1">
                <a:latin typeface="Simplon BP Regular" pitchFamily="2" charset="0"/>
              </a:rPr>
              <a:t>going</a:t>
            </a:r>
            <a:r>
              <a:rPr lang="pt-BR" sz="1000" dirty="0">
                <a:latin typeface="Simplon BP Regular" pitchFamily="2" charset="0"/>
              </a:rPr>
              <a:t>, </a:t>
            </a:r>
            <a:r>
              <a:rPr lang="pt-BR" sz="1000" dirty="0" smtClean="0">
                <a:latin typeface="Simplon BP Regular" pitchFamily="2" charset="0"/>
              </a:rPr>
              <a:t>descontinuação de sistemas legados, </a:t>
            </a:r>
            <a:r>
              <a:rPr lang="pt-BR" sz="1000" dirty="0" err="1" smtClean="0">
                <a:latin typeface="Simplon BP Regular" pitchFamily="2" charset="0"/>
              </a:rPr>
              <a:t>etc</a:t>
            </a:r>
            <a:endParaRPr lang="pt-BR" sz="1000" dirty="0">
              <a:latin typeface="Simplon BP Regular" pitchFamily="2" charset="0"/>
            </a:endParaRPr>
          </a:p>
        </p:txBody>
      </p:sp>
      <p:cxnSp>
        <p:nvCxnSpPr>
          <p:cNvPr id="4" name="Conector angulado 3"/>
          <p:cNvCxnSpPr/>
          <p:nvPr/>
        </p:nvCxnSpPr>
        <p:spPr>
          <a:xfrm flipV="1">
            <a:off x="5066531" y="1367493"/>
            <a:ext cx="236240" cy="144016"/>
          </a:xfrm>
          <a:prstGeom prst="bentConnector3">
            <a:avLst>
              <a:gd name="adj1" fmla="val -2415"/>
            </a:avLst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Conector angulado 4"/>
          <p:cNvCxnSpPr/>
          <p:nvPr/>
        </p:nvCxnSpPr>
        <p:spPr>
          <a:xfrm rot="10800000">
            <a:off x="2915816" y="1511510"/>
            <a:ext cx="576064" cy="144016"/>
          </a:xfrm>
          <a:prstGeom prst="bentConnector3">
            <a:avLst>
              <a:gd name="adj1" fmla="val 396"/>
            </a:avLst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tângulo 5"/>
          <p:cNvSpPr/>
          <p:nvPr/>
        </p:nvSpPr>
        <p:spPr>
          <a:xfrm>
            <a:off x="1034083" y="1113369"/>
            <a:ext cx="185199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latin typeface="Simplon BP Regular" pitchFamily="2" charset="0"/>
              </a:rPr>
              <a:t>Escalabilidade/integração, performance/agilidade, disponibilidade/estabilidade e segurança/integridade das </a:t>
            </a:r>
            <a:r>
              <a:rPr lang="pt-BR" sz="1000" dirty="0" smtClean="0">
                <a:latin typeface="Simplon BP Regular" pitchFamily="2" charset="0"/>
              </a:rPr>
              <a:t>informações</a:t>
            </a:r>
            <a:endParaRPr lang="pt-BR" sz="1000" dirty="0">
              <a:latin typeface="Simplon BP Regular" pitchFamily="2" charset="0"/>
            </a:endParaRPr>
          </a:p>
        </p:txBody>
      </p:sp>
      <p:cxnSp>
        <p:nvCxnSpPr>
          <p:cNvPr id="7" name="Conector reto 6"/>
          <p:cNvCxnSpPr/>
          <p:nvPr/>
        </p:nvCxnSpPr>
        <p:spPr>
          <a:xfrm flipV="1">
            <a:off x="5796136" y="2663637"/>
            <a:ext cx="360040" cy="11239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tângulo 7"/>
          <p:cNvSpPr/>
          <p:nvPr/>
        </p:nvSpPr>
        <p:spPr>
          <a:xfrm>
            <a:off x="6281142" y="2159581"/>
            <a:ext cx="185199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latin typeface="Simplon BP Regular" pitchFamily="2" charset="0"/>
              </a:rPr>
              <a:t>Usabilidade, assertividade, atendimento às principais funcionalidades (ações automáticas, gestão de casos, visão 360º do cliente, </a:t>
            </a:r>
            <a:r>
              <a:rPr lang="pt-BR" sz="1000" dirty="0" smtClean="0">
                <a:latin typeface="Simplon BP Regular" pitchFamily="2" charset="0"/>
              </a:rPr>
              <a:t>capacidades de </a:t>
            </a:r>
            <a:r>
              <a:rPr lang="pt-BR" sz="1000" i="1" dirty="0" err="1" smtClean="0">
                <a:latin typeface="Simplon BP Regular" pitchFamily="2" charset="0"/>
              </a:rPr>
              <a:t>analytics</a:t>
            </a:r>
            <a:r>
              <a:rPr lang="pt-BR" sz="1000" dirty="0">
                <a:latin typeface="Simplon BP Regular" pitchFamily="2" charset="0"/>
              </a:rPr>
              <a:t>, </a:t>
            </a:r>
            <a:r>
              <a:rPr lang="pt-BR" sz="1000" dirty="0" err="1">
                <a:latin typeface="Simplon BP Regular" pitchFamily="2" charset="0"/>
              </a:rPr>
              <a:t>etc</a:t>
            </a:r>
            <a:r>
              <a:rPr lang="pt-BR" sz="1000" dirty="0" smtClean="0">
                <a:latin typeface="Simplon BP Regular" pitchFamily="2" charset="0"/>
              </a:rPr>
              <a:t>)</a:t>
            </a:r>
            <a:endParaRPr lang="pt-BR" sz="1000" dirty="0">
              <a:latin typeface="Simplon BP Regular" pitchFamily="2" charset="0"/>
            </a:endParaRPr>
          </a:p>
        </p:txBody>
      </p:sp>
      <p:cxnSp>
        <p:nvCxnSpPr>
          <p:cNvPr id="9" name="Conector angulado 8"/>
          <p:cNvCxnSpPr/>
          <p:nvPr/>
        </p:nvCxnSpPr>
        <p:spPr>
          <a:xfrm>
            <a:off x="5023098" y="3988356"/>
            <a:ext cx="485006" cy="144016"/>
          </a:xfrm>
          <a:prstGeom prst="bentConnector3">
            <a:avLst>
              <a:gd name="adj1" fmla="val -1061"/>
            </a:avLst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tângulo 9"/>
          <p:cNvSpPr/>
          <p:nvPr/>
        </p:nvSpPr>
        <p:spPr>
          <a:xfrm>
            <a:off x="5632747" y="3777665"/>
            <a:ext cx="24908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latin typeface="Simplon BP Regular" pitchFamily="2" charset="0"/>
              </a:rPr>
              <a:t>Aderência às tendências tecnológicas para prevenção de fraudes </a:t>
            </a:r>
            <a:r>
              <a:rPr lang="pt-BR" sz="1000" dirty="0" smtClean="0">
                <a:latin typeface="Simplon BP Regular" pitchFamily="2" charset="0"/>
              </a:rPr>
              <a:t>OTT (</a:t>
            </a:r>
            <a:r>
              <a:rPr lang="pt-BR" sz="1000" i="1" dirty="0" err="1" smtClean="0">
                <a:latin typeface="Simplon BP Regular" pitchFamily="2" charset="0"/>
              </a:rPr>
              <a:t>omni-channel</a:t>
            </a:r>
            <a:r>
              <a:rPr lang="pt-BR" sz="1000" i="1" dirty="0">
                <a:latin typeface="Simplon BP Regular" pitchFamily="2" charset="0"/>
              </a:rPr>
              <a:t>, </a:t>
            </a:r>
            <a:r>
              <a:rPr lang="pt-BR" sz="1000" i="1" dirty="0" err="1">
                <a:latin typeface="Simplon BP Regular" pitchFamily="2" charset="0"/>
              </a:rPr>
              <a:t>machine</a:t>
            </a:r>
            <a:r>
              <a:rPr lang="pt-BR" sz="1000" i="1" dirty="0">
                <a:latin typeface="Simplon BP Regular" pitchFamily="2" charset="0"/>
              </a:rPr>
              <a:t> </a:t>
            </a:r>
            <a:r>
              <a:rPr lang="pt-BR" sz="1000" i="1" dirty="0" err="1">
                <a:latin typeface="Simplon BP Regular" pitchFamily="2" charset="0"/>
              </a:rPr>
              <a:t>learning</a:t>
            </a:r>
            <a:r>
              <a:rPr lang="pt-BR" sz="1000" i="1" dirty="0">
                <a:latin typeface="Simplon BP Regular" pitchFamily="2" charset="0"/>
              </a:rPr>
              <a:t>, </a:t>
            </a:r>
            <a:r>
              <a:rPr lang="pt-BR" sz="1000" i="1" dirty="0" err="1">
                <a:latin typeface="Simplon BP Regular" pitchFamily="2" charset="0"/>
              </a:rPr>
              <a:t>multi</a:t>
            </a:r>
            <a:r>
              <a:rPr lang="pt-BR" sz="1000" i="1" dirty="0">
                <a:latin typeface="Simplon BP Regular" pitchFamily="2" charset="0"/>
              </a:rPr>
              <a:t> </a:t>
            </a:r>
            <a:r>
              <a:rPr lang="pt-BR" sz="1000" i="1" dirty="0" err="1">
                <a:latin typeface="Simplon BP Regular" pitchFamily="2" charset="0"/>
              </a:rPr>
              <a:t>devices</a:t>
            </a:r>
            <a:r>
              <a:rPr lang="pt-BR" sz="1000" i="1" dirty="0">
                <a:latin typeface="Simplon BP Regular" pitchFamily="2" charset="0"/>
              </a:rPr>
              <a:t>, social network, </a:t>
            </a:r>
            <a:r>
              <a:rPr lang="pt-BR" sz="1000" i="1" dirty="0" err="1">
                <a:latin typeface="Simplon BP Regular" pitchFamily="2" charset="0"/>
              </a:rPr>
              <a:t>etc</a:t>
            </a:r>
            <a:r>
              <a:rPr lang="pt-BR" sz="1000" dirty="0">
                <a:latin typeface="Simplon BP Regular" pitchFamily="2" charset="0"/>
              </a:rPr>
              <a:t>)</a:t>
            </a:r>
          </a:p>
        </p:txBody>
      </p:sp>
      <p:cxnSp>
        <p:nvCxnSpPr>
          <p:cNvPr id="11" name="Conector reto 10"/>
          <p:cNvCxnSpPr/>
          <p:nvPr/>
        </p:nvCxnSpPr>
        <p:spPr>
          <a:xfrm>
            <a:off x="2771800" y="3311709"/>
            <a:ext cx="360040" cy="72008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tângulo 11"/>
          <p:cNvSpPr/>
          <p:nvPr/>
        </p:nvSpPr>
        <p:spPr>
          <a:xfrm>
            <a:off x="731193" y="2777937"/>
            <a:ext cx="199600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latin typeface="Simplon BP Regular" pitchFamily="2" charset="0"/>
              </a:rPr>
              <a:t>Habilitar a redução dos principais cenários de perda de receita com fraudes da Oi e do mercado de Telecom (subscrição, spam, clonagens, </a:t>
            </a:r>
            <a:r>
              <a:rPr lang="pt-BR" sz="1000" dirty="0" err="1">
                <a:latin typeface="Simplon BP Regular" pitchFamily="2" charset="0"/>
              </a:rPr>
              <a:t>etc</a:t>
            </a:r>
            <a:r>
              <a:rPr lang="pt-BR" sz="1000" dirty="0" smtClean="0">
                <a:latin typeface="Simplon BP Regular" pitchFamily="2" charset="0"/>
              </a:rPr>
              <a:t>)</a:t>
            </a:r>
            <a:endParaRPr lang="pt-BR" sz="1000" dirty="0">
              <a:latin typeface="Simplon BP Regular" pitchFamily="2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3933453" y="2405226"/>
            <a:ext cx="935335" cy="7190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1400" b="1" dirty="0" smtClean="0">
                <a:solidFill>
                  <a:schemeClr val="bg1">
                    <a:lumMod val="50000"/>
                  </a:schemeClr>
                </a:solidFill>
                <a:latin typeface="Simplon BP" charset="0"/>
                <a:ea typeface="Simplon BP" charset="0"/>
                <a:cs typeface="Simplon BP" charset="0"/>
              </a:rPr>
              <a:t>PILARES DE ANÁLISE</a:t>
            </a:r>
          </a:p>
        </p:txBody>
      </p:sp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8309625"/>
              </p:ext>
            </p:extLst>
          </p:nvPr>
        </p:nvGraphicFramePr>
        <p:xfrm>
          <a:off x="1331640" y="1119867"/>
          <a:ext cx="6156176" cy="3992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95528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AGORA IREMOS DETALHAR OS REQUISITOS FUNCIONAIS E TÉCNICOS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7274382" y="3961066"/>
            <a:ext cx="216000" cy="1800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Text Placeholder 11"/>
          <p:cNvSpPr txBox="1">
            <a:spLocks/>
          </p:cNvSpPr>
          <p:nvPr/>
        </p:nvSpPr>
        <p:spPr>
          <a:xfrm>
            <a:off x="7561252" y="3982883"/>
            <a:ext cx="968770" cy="1761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/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188912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365125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365125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541338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541337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717550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71755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893763" algn="l"/>
              </a:tabLst>
              <a:defRPr lang="pt-BR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00" dirty="0" smtClean="0">
                <a:solidFill>
                  <a:schemeClr val="accent2"/>
                </a:solidFill>
              </a:rPr>
              <a:t>Em andamento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7274382" y="4376968"/>
            <a:ext cx="216000" cy="18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Text Placeholder 11"/>
          <p:cNvSpPr txBox="1">
            <a:spLocks/>
          </p:cNvSpPr>
          <p:nvPr/>
        </p:nvSpPr>
        <p:spPr>
          <a:xfrm>
            <a:off x="7561252" y="4398785"/>
            <a:ext cx="720000" cy="1761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/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188912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365125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365125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541338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541337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717550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71755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893763" algn="l"/>
              </a:tabLst>
              <a:defRPr lang="pt-BR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00" dirty="0" smtClean="0">
                <a:solidFill>
                  <a:schemeClr val="accent1">
                    <a:lumMod val="50000"/>
                  </a:schemeClr>
                </a:solidFill>
              </a:rPr>
              <a:t>Planejado</a:t>
            </a:r>
          </a:p>
        </p:txBody>
      </p:sp>
      <p:sp>
        <p:nvSpPr>
          <p:cNvPr id="19" name="Retângulo 18"/>
          <p:cNvSpPr/>
          <p:nvPr/>
        </p:nvSpPr>
        <p:spPr>
          <a:xfrm>
            <a:off x="7280572" y="4809016"/>
            <a:ext cx="216000" cy="180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Text Placeholder 11"/>
          <p:cNvSpPr txBox="1">
            <a:spLocks/>
          </p:cNvSpPr>
          <p:nvPr/>
        </p:nvSpPr>
        <p:spPr>
          <a:xfrm>
            <a:off x="7561253" y="4825952"/>
            <a:ext cx="720000" cy="15230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/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188912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365125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365125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541338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541337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717550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71755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893763" algn="l"/>
              </a:tabLst>
              <a:defRPr lang="pt-BR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00" dirty="0" smtClean="0">
                <a:solidFill>
                  <a:schemeClr val="accent5">
                    <a:lumMod val="50000"/>
                  </a:schemeClr>
                </a:solidFill>
              </a:rPr>
              <a:t>Completo</a:t>
            </a:r>
          </a:p>
        </p:txBody>
      </p:sp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5960743"/>
              </p:ext>
            </p:extLst>
          </p:nvPr>
        </p:nvGraphicFramePr>
        <p:xfrm>
          <a:off x="1200755" y="771550"/>
          <a:ext cx="5027430" cy="4250167"/>
        </p:xfrm>
        <a:graphic>
          <a:graphicData uri="http://schemas.openxmlformats.org/drawingml/2006/table">
            <a:tbl>
              <a:tblPr/>
              <a:tblGrid>
                <a:gridCol w="3342648"/>
                <a:gridCol w="288494"/>
                <a:gridCol w="247281"/>
                <a:gridCol w="288494"/>
                <a:gridCol w="288494"/>
                <a:gridCol w="283525"/>
                <a:gridCol w="288494"/>
              </a:tblGrid>
              <a:tr h="206669"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Simplon BP Regular" charset="0"/>
                        </a:rPr>
                        <a:t>OUT</a:t>
                      </a:r>
                      <a:endParaRPr lang="en-US" sz="1400" b="1" i="0" u="none" strike="noStrike" noProof="0" dirty="0">
                        <a:solidFill>
                          <a:schemeClr val="bg1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Simplon BP Regular" charset="0"/>
                        </a:rPr>
                        <a:t>NOV</a:t>
                      </a:r>
                      <a:endParaRPr lang="en-US" sz="1400" b="1" i="0" u="none" strike="noStrike" noProof="0" dirty="0">
                        <a:solidFill>
                          <a:schemeClr val="bg1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2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3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4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5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1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2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1. </a:t>
                      </a:r>
                      <a:r>
                        <a:rPr lang="pt-BR" sz="14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tatement</a:t>
                      </a:r>
                      <a:r>
                        <a:rPr lang="pt-BR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 </a:t>
                      </a:r>
                      <a:r>
                        <a:rPr lang="pt-BR" sz="14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o</a:t>
                      </a:r>
                      <a:r>
                        <a:rPr lang="pt-BR" sz="14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f</a:t>
                      </a:r>
                      <a:r>
                        <a:rPr lang="pt-BR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 </a:t>
                      </a:r>
                      <a:r>
                        <a:rPr lang="pt-BR" sz="14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w</a:t>
                      </a:r>
                      <a:r>
                        <a:rPr lang="pt-BR" sz="14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ork</a:t>
                      </a:r>
                      <a:endParaRPr lang="pt-BR" sz="1400" b="0" i="1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Alinhamento e </a:t>
                      </a:r>
                      <a:r>
                        <a:rPr lang="pt-BR" sz="12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onboarding</a:t>
                      </a:r>
                      <a:endParaRPr lang="pt-BR" sz="1200" b="0" i="1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Levantamento e análise de documentaçã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sk-SK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2. </a:t>
                      </a:r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xecução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ntrevistas/Workshops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com Auditoria Interna</a:t>
                      </a:r>
                      <a:endParaRPr lang="pt-BR" sz="1200" b="0" i="1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ntrevistas/Workshops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com Crédito</a:t>
                      </a:r>
                      <a:r>
                        <a:rPr lang="pt-B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 e UTC</a:t>
                      </a:r>
                      <a:endParaRPr lang="pt-BR" sz="1200" b="0" i="1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ntrevistas/Workshops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com BPO-</a:t>
                      </a:r>
                      <a:r>
                        <a:rPr lang="pt-BR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Acc</a:t>
                      </a:r>
                      <a:endParaRPr lang="pt-BR" sz="1200" b="0" i="1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.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.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.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Reunião com Segurança</a:t>
                      </a:r>
                      <a:r>
                        <a:rPr lang="pt-B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 da Informação</a:t>
                      </a:r>
                      <a:endParaRPr lang="pt-B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Reunião com Infraestrutura de TI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Detalhamento dos requisitos funcionai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Detalhamento dos requisitos funcionais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4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3. Consolidação</a:t>
                      </a:r>
                      <a:endParaRPr lang="pt-BR" sz="1400" b="0" i="1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struturação dos requisito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Detalhamento dos requisitos na RFP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 rot="19376606">
            <a:off x="3367091" y="2479607"/>
            <a:ext cx="2512474" cy="565146"/>
          </a:xfrm>
          <a:prstGeom prst="rect">
            <a:avLst/>
          </a:prstGeom>
          <a:solidFill>
            <a:schemeClr val="accent4"/>
          </a:solidFill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3200" b="1" dirty="0" smtClean="0">
                <a:solidFill>
                  <a:srgbClr val="FF0000"/>
                </a:solidFill>
                <a:latin typeface="Simplon BP" charset="0"/>
                <a:ea typeface="Simplon BP" charset="0"/>
                <a:cs typeface="Simplon BP" charset="0"/>
              </a:rPr>
              <a:t>CONSTRUIR</a:t>
            </a:r>
          </a:p>
        </p:txBody>
      </p:sp>
    </p:spTree>
    <p:extLst>
      <p:ext uri="{BB962C8B-B14F-4D97-AF65-F5344CB8AC3E}">
        <p14:creationId xmlns:p14="http://schemas.microsoft.com/office/powerpoint/2010/main" val="1594173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CONSTRUIMOS UMA SUGESTÃO DE AGENDA DE WORKSHOPS E ENTREVISTAS COM OS ENVOLVIDOS</a:t>
            </a:r>
            <a:endParaRPr lang="pt-BR" sz="2000" dirty="0">
              <a:solidFill>
                <a:schemeClr val="accent1"/>
              </a:solidFill>
            </a:endParaRPr>
          </a:p>
        </p:txBody>
      </p:sp>
      <p:graphicFrame>
        <p:nvGraphicFramePr>
          <p:cNvPr id="3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1929841"/>
              </p:ext>
            </p:extLst>
          </p:nvPr>
        </p:nvGraphicFramePr>
        <p:xfrm>
          <a:off x="323528" y="987574"/>
          <a:ext cx="8460940" cy="3854025"/>
        </p:xfrm>
        <a:graphic>
          <a:graphicData uri="http://schemas.openxmlformats.org/drawingml/2006/table">
            <a:tbl>
              <a:tblPr/>
              <a:tblGrid>
                <a:gridCol w="1440160"/>
                <a:gridCol w="2745305"/>
                <a:gridCol w="990110"/>
                <a:gridCol w="1755195"/>
                <a:gridCol w="1530170"/>
              </a:tblGrid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Área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auta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Agenda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Participantes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</a:tr>
              <a:tr h="49505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toria Interna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ocessos de detecção de fraudes internas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/ago - 10:00</a:t>
                      </a:r>
                    </a:p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: Arcos-RJ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leyton Soare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nicius Martins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rgbClr val="006600"/>
                          </a:solidFill>
                          <a:latin typeface="+mn-lt"/>
                          <a:ea typeface="+mn-ea"/>
                          <a:cs typeface="+mn-cs"/>
                        </a:rPr>
                        <a:t>Reunião realizada</a:t>
                      </a:r>
                      <a:endParaRPr lang="pt-BR" sz="900" b="1" dirty="0" smtClean="0">
                        <a:solidFill>
                          <a:srgbClr val="006600"/>
                        </a:solidFill>
                        <a:sym typeface="Wingdings" pitchFamily="2" charset="2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242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PO-</a:t>
                      </a:r>
                      <a:r>
                        <a:rPr kumimoji="0" lang="pt-BR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c</a:t>
                      </a:r>
                      <a:endParaRPr kumimoji="0" lang="pt-B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Wiseminer</a:t>
                      </a:r>
                      <a:endParaRPr kumimoji="0" lang="pt-B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4/set - 11:00</a:t>
                      </a:r>
                    </a:p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: BH-HGA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leyton Soare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nicius Martins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Realizar agendamento</a:t>
                      </a:r>
                      <a:endParaRPr lang="pt-BR" sz="900" b="1" dirty="0" smtClean="0">
                        <a:solidFill>
                          <a:srgbClr val="C00000"/>
                        </a:solidFill>
                        <a:sym typeface="Wingdings" pitchFamily="2" charset="2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400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...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...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8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800" b="1" dirty="0" smtClean="0">
                          <a:solidFill>
                            <a:srgbClr val="C00000"/>
                          </a:solidFill>
                          <a:sym typeface="Wingdings" pitchFamily="2" charset="2"/>
                        </a:rPr>
                        <a:t>...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400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8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pt-BR" sz="7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800" b="1" dirty="0" smtClean="0">
                        <a:solidFill>
                          <a:srgbClr val="C00000"/>
                        </a:solidFill>
                        <a:sym typeface="Wingdings" pitchFamily="2" charset="2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400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95055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800" b="1" dirty="0" smtClean="0">
                        <a:solidFill>
                          <a:srgbClr val="C00000"/>
                        </a:solidFill>
                        <a:sym typeface="Wingdings" pitchFamily="2" charset="2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9505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CaixaDeTexto 4"/>
          <p:cNvSpPr txBox="1"/>
          <p:nvPr/>
        </p:nvSpPr>
        <p:spPr>
          <a:xfrm rot="19376606">
            <a:off x="3367091" y="2479607"/>
            <a:ext cx="2512474" cy="565146"/>
          </a:xfrm>
          <a:prstGeom prst="rect">
            <a:avLst/>
          </a:prstGeom>
          <a:solidFill>
            <a:schemeClr val="accent4"/>
          </a:solidFill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3200" b="1" dirty="0" smtClean="0">
                <a:solidFill>
                  <a:srgbClr val="FF0000"/>
                </a:solidFill>
                <a:latin typeface="Simplon BP" charset="0"/>
                <a:ea typeface="Simplon BP" charset="0"/>
                <a:cs typeface="Simplon BP" charset="0"/>
              </a:rPr>
              <a:t>CONSTRUIR</a:t>
            </a:r>
          </a:p>
        </p:txBody>
      </p:sp>
    </p:spTree>
    <p:extLst>
      <p:ext uri="{BB962C8B-B14F-4D97-AF65-F5344CB8AC3E}">
        <p14:creationId xmlns:p14="http://schemas.microsoft.com/office/powerpoint/2010/main" val="1505491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heme/theme1.xml><?xml version="1.0" encoding="utf-8"?>
<a:theme xmlns:a="http://schemas.openxmlformats.org/drawingml/2006/main" name="1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F49991EE-FD8C-4C4B-858B-0B3EFC9BF6F9}"/>
    </a:ext>
  </a:extLst>
</a:theme>
</file>

<file path=ppt/theme/theme10.xml><?xml version="1.0" encoding="utf-8"?>
<a:theme xmlns:a="http://schemas.openxmlformats.org/drawingml/2006/main" name="Storytelling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90CF09D8-A23A-419D-B80E-8B8CA3EB3995}"/>
    </a:ext>
  </a:extLst>
</a:theme>
</file>

<file path=ppt/theme/theme11.xml><?xml version="1.0" encoding="utf-8"?>
<a:theme xmlns:a="http://schemas.openxmlformats.org/drawingml/2006/main" name="Storytelling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2B774844-4F67-4DEA-B174-742B692BE4D9}"/>
    </a:ext>
  </a:extLst>
</a:theme>
</file>

<file path=ppt/theme/theme12.xml><?xml version="1.0" encoding="utf-8"?>
<a:theme xmlns:a="http://schemas.openxmlformats.org/drawingml/2006/main" name="Storytelling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44AE0DC4-C6D5-40B3-9317-1E90E3133143}"/>
    </a:ext>
  </a:extLst>
</a:theme>
</file>

<file path=ppt/theme/theme13.xml><?xml version="1.0" encoding="utf-8"?>
<a:theme xmlns:a="http://schemas.openxmlformats.org/drawingml/2006/main" name="Storytelling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C915C53D-17B1-4CAE-A2F5-38CC0E61865A}"/>
    </a:ext>
  </a:extLst>
</a:theme>
</file>

<file path=ppt/theme/theme14.xml><?xml version="1.0" encoding="utf-8"?>
<a:theme xmlns:a="http://schemas.openxmlformats.org/drawingml/2006/main" name="1_Storytelling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4" id="{63B2FC6A-DDF7-554B-84E3-39B23395DB01}" vid="{99F6C0B4-26ED-3247-B202-022740461F08}"/>
    </a:ext>
  </a:extLst>
</a:theme>
</file>

<file path=ppt/theme/theme15.xml><?xml version="1.0" encoding="utf-8"?>
<a:theme xmlns:a="http://schemas.openxmlformats.org/drawingml/2006/main" name="3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7D2D9479-3E37-4F53-BE29-EAD4CD2866BE}"/>
    </a:ext>
  </a:extLst>
</a:theme>
</file>

<file path=ppt/theme/theme3.xml><?xml version="1.0" encoding="utf-8"?>
<a:theme xmlns:a="http://schemas.openxmlformats.org/drawingml/2006/main" name="1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91E1DCAC-4706-4145-A9CC-CDF78CCBDCEB}"/>
    </a:ext>
  </a:extLst>
</a:theme>
</file>

<file path=ppt/theme/theme4.xml><?xml version="1.0" encoding="utf-8"?>
<a:theme xmlns:a="http://schemas.openxmlformats.org/drawingml/2006/main" name="Oi Mestr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A02BFF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solidFill>
            <a:srgbClr val="A02BFF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9D8DDA16-3881-4B7D-A4FB-BE8C9AFE3971}"/>
    </a:ext>
  </a:extLst>
</a:theme>
</file>

<file path=ppt/theme/theme5.xml><?xml version="1.0" encoding="utf-8"?>
<a:theme xmlns:a="http://schemas.openxmlformats.org/drawingml/2006/main" name="Oi Mestr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C7A22069-C96F-4038-9F83-57F8729D454D}"/>
    </a:ext>
  </a:extLst>
</a:theme>
</file>

<file path=ppt/theme/theme6.xml><?xml version="1.0" encoding="utf-8"?>
<a:theme xmlns:a="http://schemas.openxmlformats.org/drawingml/2006/main" name="Bas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67F1ED01-73A9-4568-9B3B-35143FD309C9}"/>
    </a:ext>
  </a:extLst>
</a:theme>
</file>

<file path=ppt/theme/theme7.xml><?xml version="1.0" encoding="utf-8"?>
<a:theme xmlns:a="http://schemas.openxmlformats.org/drawingml/2006/main" name="Bas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88589E8A-D5EC-4DC8-A838-67D0DC565A66}"/>
    </a:ext>
  </a:extLst>
</a:theme>
</file>

<file path=ppt/theme/theme8.xml><?xml version="1.0" encoding="utf-8"?>
<a:theme xmlns:a="http://schemas.openxmlformats.org/drawingml/2006/main" name="Bas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06CC9366-7300-4EC1-A22D-0751107F1C08}"/>
    </a:ext>
  </a:extLst>
</a:theme>
</file>

<file path=ppt/theme/theme9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i2016_template_v02</Template>
  <TotalTime>12961</TotalTime>
  <Words>974</Words>
  <Application>Microsoft Office PowerPoint</Application>
  <PresentationFormat>Apresentação na tela (16:9)</PresentationFormat>
  <Paragraphs>280</Paragraphs>
  <Slides>11</Slides>
  <Notes>9</Notes>
  <HiddenSlides>0</HiddenSlides>
  <MMClips>0</MMClips>
  <ScaleCrop>false</ScaleCrop>
  <HeadingPairs>
    <vt:vector size="4" baseType="variant">
      <vt:variant>
        <vt:lpstr>Tema</vt:lpstr>
      </vt:variant>
      <vt:variant>
        <vt:i4>15</vt:i4>
      </vt:variant>
      <vt:variant>
        <vt:lpstr>Títulos de slides</vt:lpstr>
      </vt:variant>
      <vt:variant>
        <vt:i4>11</vt:i4>
      </vt:variant>
    </vt:vector>
  </HeadingPairs>
  <TitlesOfParts>
    <vt:vector size="26" baseType="lpstr">
      <vt:lpstr>1_Oi Mestre</vt:lpstr>
      <vt:lpstr>Oi Mestre_Roxo</vt:lpstr>
      <vt:lpstr>1_Oi Mestre_Laranja</vt:lpstr>
      <vt:lpstr>Oi Mestre_Verde</vt:lpstr>
      <vt:lpstr>Oi Mestre_Azul</vt:lpstr>
      <vt:lpstr>Base_Roxo</vt:lpstr>
      <vt:lpstr>Base_Laranja</vt:lpstr>
      <vt:lpstr>Base_Verde</vt:lpstr>
      <vt:lpstr>Base_Azul</vt:lpstr>
      <vt:lpstr>Storytelling_Roxo</vt:lpstr>
      <vt:lpstr>Storytelling_Laranja</vt:lpstr>
      <vt:lpstr>Storytelling_Verde</vt:lpstr>
      <vt:lpstr>Storytelling_Azul</vt:lpstr>
      <vt:lpstr>1_Storytelling_Laranja</vt:lpstr>
      <vt:lpstr>31_FBBR0598.TP.130513</vt:lpstr>
      <vt:lpstr>RFP - FMS (Fraud MANAGEMENT SYSTEM)</vt:lpstr>
      <vt:lpstr>Apresentação do PowerPoint</vt:lpstr>
      <vt:lpstr>a arquitetura atual para gestão de fraude é segregada</vt:lpstr>
      <vt:lpstr>Modernizar a arquitetura da gestão de fraude aumenta a eficiência e nos prepara para novos modelos de negócio</vt:lpstr>
      <vt:lpstr>planejamos um roadmap  priorizando os principais problemas e benefícios mapeados até o momento.</vt:lpstr>
      <vt:lpstr>ESTAMOS EM FASE DE DETALHAMENTO DE RFP PARA EVOLUÇÃO SISTÊMICA DAS NoSSAS Competências de GESTÃO DE FRAUDES </vt:lpstr>
      <vt:lpstr>PESO DOS PRINCIPAIS DIRECIONADORES QUE IRÃO BALIZAR AS FUTURAS DECISÕES</vt:lpstr>
      <vt:lpstr>AGORA IREMOS DETALHAR OS REQUISITOS FUNCIONAIS E TÉCNICOS</vt:lpstr>
      <vt:lpstr>CONSTRUIMOS UMA SUGESTÃO DE AGENDA DE WORKSHOPS E ENTREVISTAS COM OS ENVOLVIDOS</vt:lpstr>
      <vt:lpstr>OS PRÓXIMOS PASSOS APÓS O LEVANTAMENTO DOS REQUISITOS ATÉ </vt:lpstr>
      <vt:lpstr>Apresentação do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projeto xpto&gt; &lt;rso/rse&gt;</dc:title>
  <dc:creator>Edja Mara De M Souza Mattar</dc:creator>
  <cp:lastModifiedBy>profile</cp:lastModifiedBy>
  <cp:revision>253</cp:revision>
  <dcterms:created xsi:type="dcterms:W3CDTF">2016-04-01T13:10:02Z</dcterms:created>
  <dcterms:modified xsi:type="dcterms:W3CDTF">2016-10-05T18:48:33Z</dcterms:modified>
</cp:coreProperties>
</file>